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8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9.xml" ContentType="application/vnd.openxmlformats-officedocument.presentationml.tags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5466" r:id="rId4"/>
  </p:sldMasterIdLst>
  <p:notesMasterIdLst>
    <p:notesMasterId r:id="rId21"/>
  </p:notesMasterIdLst>
  <p:handoutMasterIdLst>
    <p:handoutMasterId r:id="rId22"/>
  </p:handoutMasterIdLst>
  <p:sldIdLst>
    <p:sldId id="260" r:id="rId5"/>
    <p:sldId id="295" r:id="rId6"/>
    <p:sldId id="293" r:id="rId7"/>
    <p:sldId id="274" r:id="rId8"/>
    <p:sldId id="276" r:id="rId9"/>
    <p:sldId id="277" r:id="rId10"/>
    <p:sldId id="278" r:id="rId11"/>
    <p:sldId id="279" r:id="rId12"/>
    <p:sldId id="280" r:id="rId13"/>
    <p:sldId id="281" r:id="rId14"/>
    <p:sldId id="282" r:id="rId15"/>
    <p:sldId id="284" r:id="rId16"/>
    <p:sldId id="292" r:id="rId17"/>
    <p:sldId id="275" r:id="rId18"/>
    <p:sldId id="283" r:id="rId19"/>
    <p:sldId id="290" r:id="rId20"/>
  </p:sldIdLst>
  <p:sldSz cx="9144000" cy="6858000" type="screen4x3"/>
  <p:notesSz cx="6858000" cy="9144000"/>
  <p:custDataLst>
    <p:tags r:id="rId23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6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hiddenSlides="1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12121"/>
    <a:srgbClr val="414343"/>
    <a:srgbClr val="53565A"/>
    <a:srgbClr val="FDFCFB"/>
    <a:srgbClr val="FFFFFB"/>
    <a:srgbClr val="FBF8F7"/>
    <a:srgbClr val="006A7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5238" autoAdjust="0"/>
  </p:normalViewPr>
  <p:slideViewPr>
    <p:cSldViewPr snapToGrid="0">
      <p:cViewPr varScale="1">
        <p:scale>
          <a:sx n="88" d="100"/>
          <a:sy n="88" d="100"/>
        </p:scale>
        <p:origin x="852" y="96"/>
      </p:cViewPr>
      <p:guideLst>
        <p:guide orient="horz" pos="2136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63" d="100"/>
          <a:sy n="63" d="100"/>
        </p:scale>
        <p:origin x="3134" y="58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33400" y="190500"/>
            <a:ext cx="34544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solidFill>
                <a:schemeClr val="tx2"/>
              </a:solidFill>
              <a:latin typeface="+mj-lt"/>
              <a:cs typeface="Georgia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33400" y="647700"/>
            <a:ext cx="34544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pPr algn="l"/>
            <a:fld id="{85F84933-B29E-4584-B146-967EBA26A754}" type="datetime1">
              <a:rPr lang="en-US" sz="1000" smtClean="0">
                <a:solidFill>
                  <a:schemeClr val="tx2"/>
                </a:solidFill>
                <a:latin typeface="+mj-lt"/>
              </a:rPr>
              <a:t>9/17/2017</a:t>
            </a:fld>
            <a:endParaRPr lang="en-US" sz="1000" dirty="0">
              <a:solidFill>
                <a:schemeClr val="tx2"/>
              </a:solidFill>
              <a:latin typeface="+mj-lt"/>
              <a:cs typeface="Georgia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57200" y="8686800"/>
            <a:ext cx="2767013" cy="304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/>
            </a:lvl1pPr>
          </a:lstStyle>
          <a:p>
            <a:endParaRPr lang="en-US" sz="1000" dirty="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624263" y="8685213"/>
            <a:ext cx="2776537" cy="3063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fld id="{F5B6B61E-71C8-4769-B257-3377CAF4417B}" type="slidenum">
              <a:rPr lang="en-US" sz="1000" smtClean="0">
                <a:solidFill>
                  <a:schemeClr val="tx2"/>
                </a:solidFill>
              </a:rPr>
              <a:pPr/>
              <a:t>‹#›</a:t>
            </a:fld>
            <a:endParaRPr lang="en-US" sz="1000" dirty="0">
              <a:solidFill>
                <a:schemeClr val="tx2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 bwMode="gray">
          <a:xfrm>
            <a:off x="4951305" y="269240"/>
            <a:ext cx="1416522" cy="307297"/>
            <a:chOff x="4813445" y="5397500"/>
            <a:chExt cx="2736850" cy="593725"/>
          </a:xfrm>
        </p:grpSpPr>
        <p:sp>
          <p:nvSpPr>
            <p:cNvPr id="9" name="Freeform 8"/>
            <p:cNvSpPr>
              <a:spLocks noEditPoints="1"/>
            </p:cNvSpPr>
            <p:nvPr userDrawn="1"/>
          </p:nvSpPr>
          <p:spPr bwMode="gray">
            <a:xfrm>
              <a:off x="5526232" y="5549900"/>
              <a:ext cx="1927225" cy="301625"/>
            </a:xfrm>
            <a:custGeom>
              <a:avLst/>
              <a:gdLst>
                <a:gd name="T0" fmla="*/ 64 w 1231"/>
                <a:gd name="T1" fmla="*/ 183 h 191"/>
                <a:gd name="T2" fmla="*/ 18 w 1231"/>
                <a:gd name="T3" fmla="*/ 18 h 191"/>
                <a:gd name="T4" fmla="*/ 127 w 1231"/>
                <a:gd name="T5" fmla="*/ 92 h 191"/>
                <a:gd name="T6" fmla="*/ 121 w 1231"/>
                <a:gd name="T7" fmla="*/ 191 h 191"/>
                <a:gd name="T8" fmla="*/ 22 w 1231"/>
                <a:gd name="T9" fmla="*/ 92 h 191"/>
                <a:gd name="T10" fmla="*/ 87 w 1231"/>
                <a:gd name="T11" fmla="*/ 156 h 191"/>
                <a:gd name="T12" fmla="*/ 99 w 1231"/>
                <a:gd name="T13" fmla="*/ 142 h 191"/>
                <a:gd name="T14" fmla="*/ 64 w 1231"/>
                <a:gd name="T15" fmla="*/ 20 h 191"/>
                <a:gd name="T16" fmla="*/ 152 w 1231"/>
                <a:gd name="T17" fmla="*/ 136 h 191"/>
                <a:gd name="T18" fmla="*/ 172 w 1231"/>
                <a:gd name="T19" fmla="*/ 133 h 191"/>
                <a:gd name="T20" fmla="*/ 230 w 1231"/>
                <a:gd name="T21" fmla="*/ 56 h 191"/>
                <a:gd name="T22" fmla="*/ 231 w 1231"/>
                <a:gd name="T23" fmla="*/ 182 h 191"/>
                <a:gd name="T24" fmla="*/ 301 w 1231"/>
                <a:gd name="T25" fmla="*/ 182 h 191"/>
                <a:gd name="T26" fmla="*/ 281 w 1231"/>
                <a:gd name="T27" fmla="*/ 56 h 191"/>
                <a:gd name="T28" fmla="*/ 301 w 1231"/>
                <a:gd name="T29" fmla="*/ 182 h 191"/>
                <a:gd name="T30" fmla="*/ 280 w 1231"/>
                <a:gd name="T31" fmla="*/ 1 h 191"/>
                <a:gd name="T32" fmla="*/ 430 w 1231"/>
                <a:gd name="T33" fmla="*/ 182 h 191"/>
                <a:gd name="T34" fmla="*/ 381 w 1231"/>
                <a:gd name="T35" fmla="*/ 73 h 191"/>
                <a:gd name="T36" fmla="*/ 331 w 1231"/>
                <a:gd name="T37" fmla="*/ 182 h 191"/>
                <a:gd name="T38" fmla="*/ 352 w 1231"/>
                <a:gd name="T39" fmla="*/ 68 h 191"/>
                <a:gd name="T40" fmla="*/ 430 w 1231"/>
                <a:gd name="T41" fmla="*/ 102 h 191"/>
                <a:gd name="T42" fmla="*/ 529 w 1231"/>
                <a:gd name="T43" fmla="*/ 182 h 191"/>
                <a:gd name="T44" fmla="*/ 550 w 1231"/>
                <a:gd name="T45" fmla="*/ 56 h 191"/>
                <a:gd name="T46" fmla="*/ 551 w 1231"/>
                <a:gd name="T47" fmla="*/ 24 h 191"/>
                <a:gd name="T48" fmla="*/ 551 w 1231"/>
                <a:gd name="T49" fmla="*/ 1 h 191"/>
                <a:gd name="T50" fmla="*/ 631 w 1231"/>
                <a:gd name="T51" fmla="*/ 119 h 191"/>
                <a:gd name="T52" fmla="*/ 735 w 1231"/>
                <a:gd name="T53" fmla="*/ 125 h 191"/>
                <a:gd name="T54" fmla="*/ 718 w 1231"/>
                <a:gd name="T55" fmla="*/ 151 h 191"/>
                <a:gd name="T56" fmla="*/ 732 w 1231"/>
                <a:gd name="T57" fmla="*/ 164 h 191"/>
                <a:gd name="T58" fmla="*/ 714 w 1231"/>
                <a:gd name="T59" fmla="*/ 109 h 191"/>
                <a:gd name="T60" fmla="*/ 655 w 1231"/>
                <a:gd name="T61" fmla="*/ 90 h 191"/>
                <a:gd name="T62" fmla="*/ 746 w 1231"/>
                <a:gd name="T63" fmla="*/ 165 h 191"/>
                <a:gd name="T64" fmla="*/ 760 w 1231"/>
                <a:gd name="T65" fmla="*/ 151 h 191"/>
                <a:gd name="T66" fmla="*/ 809 w 1231"/>
                <a:gd name="T67" fmla="*/ 128 h 191"/>
                <a:gd name="T68" fmla="*/ 798 w 1231"/>
                <a:gd name="T69" fmla="*/ 55 h 191"/>
                <a:gd name="T70" fmla="*/ 830 w 1231"/>
                <a:gd name="T71" fmla="*/ 83 h 191"/>
                <a:gd name="T72" fmla="*/ 771 w 1231"/>
                <a:gd name="T73" fmla="*/ 92 h 191"/>
                <a:gd name="T74" fmla="*/ 849 w 1231"/>
                <a:gd name="T75" fmla="*/ 144 h 191"/>
                <a:gd name="T76" fmla="*/ 872 w 1231"/>
                <a:gd name="T77" fmla="*/ 182 h 191"/>
                <a:gd name="T78" fmla="*/ 894 w 1231"/>
                <a:gd name="T79" fmla="*/ 2 h 191"/>
                <a:gd name="T80" fmla="*/ 1085 w 1231"/>
                <a:gd name="T81" fmla="*/ 182 h 191"/>
                <a:gd name="T82" fmla="*/ 1017 w 1231"/>
                <a:gd name="T83" fmla="*/ 154 h 191"/>
                <a:gd name="T84" fmla="*/ 952 w 1231"/>
                <a:gd name="T85" fmla="*/ 182 h 191"/>
                <a:gd name="T86" fmla="*/ 951 w 1231"/>
                <a:gd name="T87" fmla="*/ 2 h 191"/>
                <a:gd name="T88" fmla="*/ 1064 w 1231"/>
                <a:gd name="T89" fmla="*/ 2 h 191"/>
                <a:gd name="T90" fmla="*/ 1168 w 1231"/>
                <a:gd name="T91" fmla="*/ 183 h 191"/>
                <a:gd name="T92" fmla="*/ 1120 w 1231"/>
                <a:gd name="T93" fmla="*/ 144 h 191"/>
                <a:gd name="T94" fmla="*/ 1209 w 1231"/>
                <a:gd name="T95" fmla="*/ 132 h 191"/>
                <a:gd name="T96" fmla="*/ 1158 w 1231"/>
                <a:gd name="T97" fmla="*/ 99 h 191"/>
                <a:gd name="T98" fmla="*/ 1169 w 1231"/>
                <a:gd name="T99" fmla="*/ 0 h 191"/>
                <a:gd name="T100" fmla="*/ 1209 w 1231"/>
                <a:gd name="T101" fmla="*/ 35 h 191"/>
                <a:gd name="T102" fmla="*/ 1132 w 1231"/>
                <a:gd name="T103" fmla="*/ 51 h 191"/>
                <a:gd name="T104" fmla="*/ 1182 w 1231"/>
                <a:gd name="T105" fmla="*/ 83 h 191"/>
                <a:gd name="T106" fmla="*/ 1168 w 1231"/>
                <a:gd name="T107" fmla="*/ 183 h 191"/>
                <a:gd name="T108" fmla="*/ 462 w 1231"/>
                <a:gd name="T109" fmla="*/ 147 h 191"/>
                <a:gd name="T110" fmla="*/ 446 w 1231"/>
                <a:gd name="T111" fmla="*/ 56 h 191"/>
                <a:gd name="T112" fmla="*/ 482 w 1231"/>
                <a:gd name="T113" fmla="*/ 19 h 191"/>
                <a:gd name="T114" fmla="*/ 509 w 1231"/>
                <a:gd name="T115" fmla="*/ 73 h 191"/>
                <a:gd name="T116" fmla="*/ 498 w 1231"/>
                <a:gd name="T117" fmla="*/ 164 h 191"/>
                <a:gd name="T118" fmla="*/ 499 w 1231"/>
                <a:gd name="T119" fmla="*/ 182 h 191"/>
                <a:gd name="T120" fmla="*/ 579 w 1231"/>
                <a:gd name="T121" fmla="*/ 148 h 191"/>
                <a:gd name="T122" fmla="*/ 600 w 1231"/>
                <a:gd name="T123" fmla="*/ 147 h 191"/>
                <a:gd name="T124" fmla="*/ 616 w 1231"/>
                <a:gd name="T125" fmla="*/ 16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31" h="191">
                  <a:moveTo>
                    <a:pt x="121" y="191"/>
                  </a:moveTo>
                  <a:cubicBezTo>
                    <a:pt x="102" y="171"/>
                    <a:pt x="102" y="171"/>
                    <a:pt x="102" y="171"/>
                  </a:cubicBezTo>
                  <a:cubicBezTo>
                    <a:pt x="91" y="179"/>
                    <a:pt x="78" y="183"/>
                    <a:pt x="64" y="183"/>
                  </a:cubicBezTo>
                  <a:cubicBezTo>
                    <a:pt x="46" y="183"/>
                    <a:pt x="30" y="177"/>
                    <a:pt x="18" y="165"/>
                  </a:cubicBezTo>
                  <a:cubicBezTo>
                    <a:pt x="1" y="148"/>
                    <a:pt x="0" y="131"/>
                    <a:pt x="0" y="92"/>
                  </a:cubicBezTo>
                  <a:cubicBezTo>
                    <a:pt x="0" y="52"/>
                    <a:pt x="1" y="35"/>
                    <a:pt x="18" y="18"/>
                  </a:cubicBezTo>
                  <a:cubicBezTo>
                    <a:pt x="30" y="6"/>
                    <a:pt x="46" y="0"/>
                    <a:pt x="64" y="0"/>
                  </a:cubicBezTo>
                  <a:cubicBezTo>
                    <a:pt x="82" y="0"/>
                    <a:pt x="97" y="6"/>
                    <a:pt x="109" y="18"/>
                  </a:cubicBezTo>
                  <a:cubicBezTo>
                    <a:pt x="125" y="35"/>
                    <a:pt x="127" y="50"/>
                    <a:pt x="127" y="92"/>
                  </a:cubicBezTo>
                  <a:cubicBezTo>
                    <a:pt x="127" y="125"/>
                    <a:pt x="126" y="143"/>
                    <a:pt x="115" y="158"/>
                  </a:cubicBezTo>
                  <a:cubicBezTo>
                    <a:pt x="135" y="178"/>
                    <a:pt x="135" y="178"/>
                    <a:pt x="135" y="178"/>
                  </a:cubicBezTo>
                  <a:lnTo>
                    <a:pt x="121" y="191"/>
                  </a:lnTo>
                  <a:close/>
                  <a:moveTo>
                    <a:pt x="64" y="20"/>
                  </a:moveTo>
                  <a:cubicBezTo>
                    <a:pt x="52" y="20"/>
                    <a:pt x="41" y="24"/>
                    <a:pt x="34" y="32"/>
                  </a:cubicBezTo>
                  <a:cubicBezTo>
                    <a:pt x="23" y="42"/>
                    <a:pt x="22" y="54"/>
                    <a:pt x="22" y="92"/>
                  </a:cubicBezTo>
                  <a:cubicBezTo>
                    <a:pt x="22" y="129"/>
                    <a:pt x="23" y="141"/>
                    <a:pt x="34" y="152"/>
                  </a:cubicBezTo>
                  <a:cubicBezTo>
                    <a:pt x="41" y="159"/>
                    <a:pt x="52" y="164"/>
                    <a:pt x="64" y="164"/>
                  </a:cubicBezTo>
                  <a:cubicBezTo>
                    <a:pt x="73" y="164"/>
                    <a:pt x="80" y="161"/>
                    <a:pt x="87" y="156"/>
                  </a:cubicBezTo>
                  <a:cubicBezTo>
                    <a:pt x="64" y="134"/>
                    <a:pt x="64" y="134"/>
                    <a:pt x="64" y="134"/>
                  </a:cubicBezTo>
                  <a:cubicBezTo>
                    <a:pt x="78" y="121"/>
                    <a:pt x="78" y="121"/>
                    <a:pt x="78" y="121"/>
                  </a:cubicBezTo>
                  <a:cubicBezTo>
                    <a:pt x="99" y="142"/>
                    <a:pt x="99" y="142"/>
                    <a:pt x="99" y="142"/>
                  </a:cubicBezTo>
                  <a:cubicBezTo>
                    <a:pt x="105" y="132"/>
                    <a:pt x="105" y="118"/>
                    <a:pt x="105" y="92"/>
                  </a:cubicBezTo>
                  <a:cubicBezTo>
                    <a:pt x="105" y="54"/>
                    <a:pt x="104" y="42"/>
                    <a:pt x="93" y="32"/>
                  </a:cubicBezTo>
                  <a:cubicBezTo>
                    <a:pt x="86" y="24"/>
                    <a:pt x="75" y="20"/>
                    <a:pt x="64" y="20"/>
                  </a:cubicBezTo>
                  <a:close/>
                  <a:moveTo>
                    <a:pt x="197" y="183"/>
                  </a:moveTo>
                  <a:cubicBezTo>
                    <a:pt x="184" y="183"/>
                    <a:pt x="172" y="179"/>
                    <a:pt x="165" y="171"/>
                  </a:cubicBezTo>
                  <a:cubicBezTo>
                    <a:pt x="156" y="163"/>
                    <a:pt x="152" y="151"/>
                    <a:pt x="152" y="136"/>
                  </a:cubicBezTo>
                  <a:cubicBezTo>
                    <a:pt x="152" y="56"/>
                    <a:pt x="152" y="56"/>
                    <a:pt x="152" y="56"/>
                  </a:cubicBezTo>
                  <a:cubicBezTo>
                    <a:pt x="172" y="56"/>
                    <a:pt x="172" y="56"/>
                    <a:pt x="172" y="56"/>
                  </a:cubicBezTo>
                  <a:cubicBezTo>
                    <a:pt x="172" y="133"/>
                    <a:pt x="172" y="133"/>
                    <a:pt x="172" y="133"/>
                  </a:cubicBezTo>
                  <a:cubicBezTo>
                    <a:pt x="172" y="154"/>
                    <a:pt x="182" y="165"/>
                    <a:pt x="201" y="165"/>
                  </a:cubicBezTo>
                  <a:cubicBezTo>
                    <a:pt x="220" y="165"/>
                    <a:pt x="230" y="153"/>
                    <a:pt x="230" y="133"/>
                  </a:cubicBezTo>
                  <a:cubicBezTo>
                    <a:pt x="230" y="56"/>
                    <a:pt x="230" y="56"/>
                    <a:pt x="230" y="56"/>
                  </a:cubicBezTo>
                  <a:cubicBezTo>
                    <a:pt x="251" y="56"/>
                    <a:pt x="251" y="56"/>
                    <a:pt x="251" y="56"/>
                  </a:cubicBezTo>
                  <a:cubicBezTo>
                    <a:pt x="251" y="182"/>
                    <a:pt x="251" y="182"/>
                    <a:pt x="251" y="182"/>
                  </a:cubicBezTo>
                  <a:cubicBezTo>
                    <a:pt x="231" y="182"/>
                    <a:pt x="231" y="182"/>
                    <a:pt x="231" y="182"/>
                  </a:cubicBezTo>
                  <a:cubicBezTo>
                    <a:pt x="231" y="170"/>
                    <a:pt x="231" y="170"/>
                    <a:pt x="231" y="170"/>
                  </a:cubicBezTo>
                  <a:cubicBezTo>
                    <a:pt x="222" y="178"/>
                    <a:pt x="210" y="183"/>
                    <a:pt x="197" y="183"/>
                  </a:cubicBezTo>
                  <a:close/>
                  <a:moveTo>
                    <a:pt x="301" y="182"/>
                  </a:moveTo>
                  <a:cubicBezTo>
                    <a:pt x="281" y="182"/>
                    <a:pt x="281" y="182"/>
                    <a:pt x="281" y="182"/>
                  </a:cubicBezTo>
                  <a:cubicBezTo>
                    <a:pt x="281" y="115"/>
                    <a:pt x="281" y="115"/>
                    <a:pt x="281" y="115"/>
                  </a:cubicBezTo>
                  <a:cubicBezTo>
                    <a:pt x="281" y="56"/>
                    <a:pt x="281" y="56"/>
                    <a:pt x="281" y="56"/>
                  </a:cubicBezTo>
                  <a:cubicBezTo>
                    <a:pt x="301" y="56"/>
                    <a:pt x="301" y="56"/>
                    <a:pt x="301" y="56"/>
                  </a:cubicBezTo>
                  <a:cubicBezTo>
                    <a:pt x="301" y="114"/>
                    <a:pt x="301" y="114"/>
                    <a:pt x="301" y="114"/>
                  </a:cubicBezTo>
                  <a:lnTo>
                    <a:pt x="301" y="182"/>
                  </a:lnTo>
                  <a:close/>
                  <a:moveTo>
                    <a:pt x="303" y="24"/>
                  </a:moveTo>
                  <a:cubicBezTo>
                    <a:pt x="280" y="24"/>
                    <a:pt x="280" y="24"/>
                    <a:pt x="280" y="24"/>
                  </a:cubicBezTo>
                  <a:cubicBezTo>
                    <a:pt x="280" y="1"/>
                    <a:pt x="280" y="1"/>
                    <a:pt x="280" y="1"/>
                  </a:cubicBezTo>
                  <a:cubicBezTo>
                    <a:pt x="303" y="1"/>
                    <a:pt x="303" y="1"/>
                    <a:pt x="303" y="1"/>
                  </a:cubicBezTo>
                  <a:lnTo>
                    <a:pt x="303" y="24"/>
                  </a:lnTo>
                  <a:close/>
                  <a:moveTo>
                    <a:pt x="430" y="182"/>
                  </a:moveTo>
                  <a:cubicBezTo>
                    <a:pt x="410" y="182"/>
                    <a:pt x="410" y="182"/>
                    <a:pt x="410" y="182"/>
                  </a:cubicBezTo>
                  <a:cubicBezTo>
                    <a:pt x="410" y="105"/>
                    <a:pt x="410" y="105"/>
                    <a:pt x="410" y="105"/>
                  </a:cubicBezTo>
                  <a:cubicBezTo>
                    <a:pt x="410" y="85"/>
                    <a:pt x="399" y="73"/>
                    <a:pt x="381" y="73"/>
                  </a:cubicBezTo>
                  <a:cubicBezTo>
                    <a:pt x="362" y="73"/>
                    <a:pt x="352" y="85"/>
                    <a:pt x="352" y="105"/>
                  </a:cubicBezTo>
                  <a:cubicBezTo>
                    <a:pt x="352" y="182"/>
                    <a:pt x="352" y="182"/>
                    <a:pt x="352" y="182"/>
                  </a:cubicBezTo>
                  <a:cubicBezTo>
                    <a:pt x="331" y="182"/>
                    <a:pt x="331" y="182"/>
                    <a:pt x="331" y="182"/>
                  </a:cubicBezTo>
                  <a:cubicBezTo>
                    <a:pt x="331" y="56"/>
                    <a:pt x="331" y="56"/>
                    <a:pt x="331" y="56"/>
                  </a:cubicBezTo>
                  <a:cubicBezTo>
                    <a:pt x="352" y="56"/>
                    <a:pt x="352" y="56"/>
                    <a:pt x="352" y="56"/>
                  </a:cubicBezTo>
                  <a:cubicBezTo>
                    <a:pt x="352" y="68"/>
                    <a:pt x="352" y="68"/>
                    <a:pt x="352" y="68"/>
                  </a:cubicBezTo>
                  <a:cubicBezTo>
                    <a:pt x="360" y="59"/>
                    <a:pt x="372" y="55"/>
                    <a:pt x="385" y="55"/>
                  </a:cubicBezTo>
                  <a:cubicBezTo>
                    <a:pt x="398" y="55"/>
                    <a:pt x="409" y="59"/>
                    <a:pt x="417" y="67"/>
                  </a:cubicBezTo>
                  <a:cubicBezTo>
                    <a:pt x="426" y="75"/>
                    <a:pt x="430" y="87"/>
                    <a:pt x="430" y="102"/>
                  </a:cubicBezTo>
                  <a:lnTo>
                    <a:pt x="430" y="182"/>
                  </a:lnTo>
                  <a:close/>
                  <a:moveTo>
                    <a:pt x="550" y="182"/>
                  </a:moveTo>
                  <a:cubicBezTo>
                    <a:pt x="529" y="182"/>
                    <a:pt x="529" y="182"/>
                    <a:pt x="529" y="182"/>
                  </a:cubicBezTo>
                  <a:cubicBezTo>
                    <a:pt x="529" y="113"/>
                    <a:pt x="529" y="113"/>
                    <a:pt x="529" y="113"/>
                  </a:cubicBezTo>
                  <a:cubicBezTo>
                    <a:pt x="529" y="56"/>
                    <a:pt x="529" y="56"/>
                    <a:pt x="529" y="56"/>
                  </a:cubicBezTo>
                  <a:cubicBezTo>
                    <a:pt x="550" y="56"/>
                    <a:pt x="550" y="56"/>
                    <a:pt x="550" y="56"/>
                  </a:cubicBezTo>
                  <a:cubicBezTo>
                    <a:pt x="550" y="113"/>
                    <a:pt x="550" y="113"/>
                    <a:pt x="550" y="113"/>
                  </a:cubicBezTo>
                  <a:lnTo>
                    <a:pt x="550" y="182"/>
                  </a:lnTo>
                  <a:close/>
                  <a:moveTo>
                    <a:pt x="551" y="24"/>
                  </a:moveTo>
                  <a:cubicBezTo>
                    <a:pt x="528" y="24"/>
                    <a:pt x="528" y="24"/>
                    <a:pt x="528" y="24"/>
                  </a:cubicBezTo>
                  <a:cubicBezTo>
                    <a:pt x="528" y="1"/>
                    <a:pt x="528" y="1"/>
                    <a:pt x="528" y="1"/>
                  </a:cubicBezTo>
                  <a:cubicBezTo>
                    <a:pt x="551" y="1"/>
                    <a:pt x="551" y="1"/>
                    <a:pt x="551" y="1"/>
                  </a:cubicBezTo>
                  <a:lnTo>
                    <a:pt x="551" y="24"/>
                  </a:lnTo>
                  <a:close/>
                  <a:moveTo>
                    <a:pt x="686" y="183"/>
                  </a:moveTo>
                  <a:cubicBezTo>
                    <a:pt x="651" y="183"/>
                    <a:pt x="631" y="160"/>
                    <a:pt x="631" y="119"/>
                  </a:cubicBezTo>
                  <a:cubicBezTo>
                    <a:pt x="631" y="79"/>
                    <a:pt x="651" y="55"/>
                    <a:pt x="683" y="55"/>
                  </a:cubicBezTo>
                  <a:cubicBezTo>
                    <a:pt x="715" y="55"/>
                    <a:pt x="735" y="78"/>
                    <a:pt x="735" y="116"/>
                  </a:cubicBezTo>
                  <a:cubicBezTo>
                    <a:pt x="735" y="125"/>
                    <a:pt x="735" y="125"/>
                    <a:pt x="735" y="125"/>
                  </a:cubicBezTo>
                  <a:cubicBezTo>
                    <a:pt x="652" y="125"/>
                    <a:pt x="652" y="125"/>
                    <a:pt x="652" y="125"/>
                  </a:cubicBezTo>
                  <a:cubicBezTo>
                    <a:pt x="652" y="151"/>
                    <a:pt x="664" y="165"/>
                    <a:pt x="687" y="165"/>
                  </a:cubicBezTo>
                  <a:cubicBezTo>
                    <a:pt x="700" y="165"/>
                    <a:pt x="708" y="161"/>
                    <a:pt x="718" y="151"/>
                  </a:cubicBezTo>
                  <a:cubicBezTo>
                    <a:pt x="719" y="150"/>
                    <a:pt x="719" y="150"/>
                    <a:pt x="719" y="150"/>
                  </a:cubicBezTo>
                  <a:cubicBezTo>
                    <a:pt x="733" y="163"/>
                    <a:pt x="733" y="163"/>
                    <a:pt x="733" y="163"/>
                  </a:cubicBezTo>
                  <a:cubicBezTo>
                    <a:pt x="732" y="164"/>
                    <a:pt x="732" y="164"/>
                    <a:pt x="732" y="164"/>
                  </a:cubicBezTo>
                  <a:cubicBezTo>
                    <a:pt x="720" y="176"/>
                    <a:pt x="708" y="183"/>
                    <a:pt x="686" y="183"/>
                  </a:cubicBezTo>
                  <a:close/>
                  <a:moveTo>
                    <a:pt x="652" y="109"/>
                  </a:moveTo>
                  <a:cubicBezTo>
                    <a:pt x="714" y="109"/>
                    <a:pt x="714" y="109"/>
                    <a:pt x="714" y="109"/>
                  </a:cubicBezTo>
                  <a:cubicBezTo>
                    <a:pt x="713" y="100"/>
                    <a:pt x="713" y="96"/>
                    <a:pt x="710" y="90"/>
                  </a:cubicBezTo>
                  <a:cubicBezTo>
                    <a:pt x="705" y="79"/>
                    <a:pt x="695" y="73"/>
                    <a:pt x="683" y="73"/>
                  </a:cubicBezTo>
                  <a:cubicBezTo>
                    <a:pt x="671" y="73"/>
                    <a:pt x="661" y="79"/>
                    <a:pt x="655" y="90"/>
                  </a:cubicBezTo>
                  <a:cubicBezTo>
                    <a:pt x="653" y="96"/>
                    <a:pt x="652" y="100"/>
                    <a:pt x="652" y="109"/>
                  </a:cubicBezTo>
                  <a:close/>
                  <a:moveTo>
                    <a:pt x="798" y="183"/>
                  </a:moveTo>
                  <a:cubicBezTo>
                    <a:pt x="775" y="183"/>
                    <a:pt x="759" y="178"/>
                    <a:pt x="746" y="165"/>
                  </a:cubicBezTo>
                  <a:cubicBezTo>
                    <a:pt x="745" y="164"/>
                    <a:pt x="745" y="164"/>
                    <a:pt x="745" y="164"/>
                  </a:cubicBezTo>
                  <a:cubicBezTo>
                    <a:pt x="759" y="150"/>
                    <a:pt x="759" y="150"/>
                    <a:pt x="759" y="150"/>
                  </a:cubicBezTo>
                  <a:cubicBezTo>
                    <a:pt x="760" y="151"/>
                    <a:pt x="760" y="151"/>
                    <a:pt x="760" y="151"/>
                  </a:cubicBezTo>
                  <a:cubicBezTo>
                    <a:pt x="769" y="161"/>
                    <a:pt x="781" y="165"/>
                    <a:pt x="797" y="165"/>
                  </a:cubicBezTo>
                  <a:cubicBezTo>
                    <a:pt x="809" y="165"/>
                    <a:pt x="829" y="163"/>
                    <a:pt x="829" y="145"/>
                  </a:cubicBezTo>
                  <a:cubicBezTo>
                    <a:pt x="829" y="134"/>
                    <a:pt x="823" y="129"/>
                    <a:pt x="809" y="128"/>
                  </a:cubicBezTo>
                  <a:cubicBezTo>
                    <a:pt x="789" y="126"/>
                    <a:pt x="789" y="126"/>
                    <a:pt x="789" y="126"/>
                  </a:cubicBezTo>
                  <a:cubicBezTo>
                    <a:pt x="764" y="124"/>
                    <a:pt x="751" y="113"/>
                    <a:pt x="751" y="92"/>
                  </a:cubicBezTo>
                  <a:cubicBezTo>
                    <a:pt x="751" y="70"/>
                    <a:pt x="770" y="55"/>
                    <a:pt x="798" y="55"/>
                  </a:cubicBezTo>
                  <a:cubicBezTo>
                    <a:pt x="816" y="55"/>
                    <a:pt x="832" y="59"/>
                    <a:pt x="843" y="68"/>
                  </a:cubicBezTo>
                  <a:cubicBezTo>
                    <a:pt x="844" y="69"/>
                    <a:pt x="844" y="69"/>
                    <a:pt x="844" y="69"/>
                  </a:cubicBezTo>
                  <a:cubicBezTo>
                    <a:pt x="830" y="83"/>
                    <a:pt x="830" y="83"/>
                    <a:pt x="830" y="83"/>
                  </a:cubicBezTo>
                  <a:cubicBezTo>
                    <a:pt x="829" y="82"/>
                    <a:pt x="829" y="82"/>
                    <a:pt x="829" y="82"/>
                  </a:cubicBezTo>
                  <a:cubicBezTo>
                    <a:pt x="821" y="76"/>
                    <a:pt x="811" y="73"/>
                    <a:pt x="798" y="73"/>
                  </a:cubicBezTo>
                  <a:cubicBezTo>
                    <a:pt x="781" y="73"/>
                    <a:pt x="771" y="79"/>
                    <a:pt x="771" y="92"/>
                  </a:cubicBezTo>
                  <a:cubicBezTo>
                    <a:pt x="771" y="102"/>
                    <a:pt x="778" y="107"/>
                    <a:pt x="792" y="108"/>
                  </a:cubicBezTo>
                  <a:cubicBezTo>
                    <a:pt x="811" y="110"/>
                    <a:pt x="811" y="110"/>
                    <a:pt x="811" y="110"/>
                  </a:cubicBezTo>
                  <a:cubicBezTo>
                    <a:pt x="827" y="112"/>
                    <a:pt x="849" y="117"/>
                    <a:pt x="849" y="144"/>
                  </a:cubicBezTo>
                  <a:cubicBezTo>
                    <a:pt x="849" y="168"/>
                    <a:pt x="829" y="183"/>
                    <a:pt x="798" y="183"/>
                  </a:cubicBezTo>
                  <a:close/>
                  <a:moveTo>
                    <a:pt x="894" y="182"/>
                  </a:moveTo>
                  <a:cubicBezTo>
                    <a:pt x="872" y="182"/>
                    <a:pt x="872" y="182"/>
                    <a:pt x="872" y="182"/>
                  </a:cubicBezTo>
                  <a:cubicBezTo>
                    <a:pt x="872" y="100"/>
                    <a:pt x="872" y="100"/>
                    <a:pt x="872" y="100"/>
                  </a:cubicBezTo>
                  <a:cubicBezTo>
                    <a:pt x="872" y="2"/>
                    <a:pt x="872" y="2"/>
                    <a:pt x="872" y="2"/>
                  </a:cubicBezTo>
                  <a:cubicBezTo>
                    <a:pt x="894" y="2"/>
                    <a:pt x="894" y="2"/>
                    <a:pt x="894" y="2"/>
                  </a:cubicBezTo>
                  <a:cubicBezTo>
                    <a:pt x="894" y="100"/>
                    <a:pt x="894" y="100"/>
                    <a:pt x="894" y="100"/>
                  </a:cubicBezTo>
                  <a:lnTo>
                    <a:pt x="894" y="182"/>
                  </a:lnTo>
                  <a:close/>
                  <a:moveTo>
                    <a:pt x="1085" y="182"/>
                  </a:moveTo>
                  <a:cubicBezTo>
                    <a:pt x="1063" y="182"/>
                    <a:pt x="1063" y="182"/>
                    <a:pt x="1063" y="182"/>
                  </a:cubicBezTo>
                  <a:cubicBezTo>
                    <a:pt x="1063" y="51"/>
                    <a:pt x="1063" y="51"/>
                    <a:pt x="1063" y="51"/>
                  </a:cubicBezTo>
                  <a:cubicBezTo>
                    <a:pt x="1017" y="154"/>
                    <a:pt x="1017" y="154"/>
                    <a:pt x="1017" y="154"/>
                  </a:cubicBezTo>
                  <a:cubicBezTo>
                    <a:pt x="999" y="154"/>
                    <a:pt x="999" y="154"/>
                    <a:pt x="999" y="154"/>
                  </a:cubicBezTo>
                  <a:cubicBezTo>
                    <a:pt x="952" y="51"/>
                    <a:pt x="952" y="51"/>
                    <a:pt x="952" y="51"/>
                  </a:cubicBezTo>
                  <a:cubicBezTo>
                    <a:pt x="952" y="182"/>
                    <a:pt x="952" y="182"/>
                    <a:pt x="952" y="182"/>
                  </a:cubicBezTo>
                  <a:cubicBezTo>
                    <a:pt x="930" y="182"/>
                    <a:pt x="930" y="182"/>
                    <a:pt x="930" y="182"/>
                  </a:cubicBezTo>
                  <a:cubicBezTo>
                    <a:pt x="930" y="2"/>
                    <a:pt x="930" y="2"/>
                    <a:pt x="930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1008" y="126"/>
                    <a:pt x="1008" y="126"/>
                    <a:pt x="1008" y="126"/>
                  </a:cubicBezTo>
                  <a:cubicBezTo>
                    <a:pt x="1064" y="2"/>
                    <a:pt x="1064" y="2"/>
                    <a:pt x="1064" y="2"/>
                  </a:cubicBezTo>
                  <a:cubicBezTo>
                    <a:pt x="1085" y="2"/>
                    <a:pt x="1085" y="2"/>
                    <a:pt x="1085" y="2"/>
                  </a:cubicBezTo>
                  <a:lnTo>
                    <a:pt x="1085" y="182"/>
                  </a:lnTo>
                  <a:close/>
                  <a:moveTo>
                    <a:pt x="1168" y="183"/>
                  </a:moveTo>
                  <a:cubicBezTo>
                    <a:pt x="1141" y="183"/>
                    <a:pt x="1123" y="176"/>
                    <a:pt x="1106" y="159"/>
                  </a:cubicBezTo>
                  <a:cubicBezTo>
                    <a:pt x="1106" y="158"/>
                    <a:pt x="1106" y="158"/>
                    <a:pt x="1106" y="158"/>
                  </a:cubicBezTo>
                  <a:cubicBezTo>
                    <a:pt x="1120" y="144"/>
                    <a:pt x="1120" y="144"/>
                    <a:pt x="1120" y="144"/>
                  </a:cubicBezTo>
                  <a:cubicBezTo>
                    <a:pt x="1121" y="145"/>
                    <a:pt x="1121" y="145"/>
                    <a:pt x="1121" y="145"/>
                  </a:cubicBezTo>
                  <a:cubicBezTo>
                    <a:pt x="1135" y="159"/>
                    <a:pt x="1148" y="164"/>
                    <a:pt x="1168" y="164"/>
                  </a:cubicBezTo>
                  <a:cubicBezTo>
                    <a:pt x="1194" y="164"/>
                    <a:pt x="1209" y="152"/>
                    <a:pt x="1209" y="132"/>
                  </a:cubicBezTo>
                  <a:cubicBezTo>
                    <a:pt x="1209" y="123"/>
                    <a:pt x="1207" y="116"/>
                    <a:pt x="1201" y="111"/>
                  </a:cubicBezTo>
                  <a:cubicBezTo>
                    <a:pt x="1196" y="106"/>
                    <a:pt x="1191" y="104"/>
                    <a:pt x="1179" y="102"/>
                  </a:cubicBezTo>
                  <a:cubicBezTo>
                    <a:pt x="1158" y="99"/>
                    <a:pt x="1158" y="99"/>
                    <a:pt x="1158" y="99"/>
                  </a:cubicBezTo>
                  <a:cubicBezTo>
                    <a:pt x="1143" y="97"/>
                    <a:pt x="1133" y="93"/>
                    <a:pt x="1125" y="86"/>
                  </a:cubicBezTo>
                  <a:cubicBezTo>
                    <a:pt x="1115" y="77"/>
                    <a:pt x="1111" y="66"/>
                    <a:pt x="1111" y="51"/>
                  </a:cubicBezTo>
                  <a:cubicBezTo>
                    <a:pt x="1111" y="20"/>
                    <a:pt x="1133" y="0"/>
                    <a:pt x="1169" y="0"/>
                  </a:cubicBezTo>
                  <a:cubicBezTo>
                    <a:pt x="1191" y="0"/>
                    <a:pt x="1207" y="6"/>
                    <a:pt x="1222" y="20"/>
                  </a:cubicBezTo>
                  <a:cubicBezTo>
                    <a:pt x="1223" y="21"/>
                    <a:pt x="1223" y="21"/>
                    <a:pt x="1223" y="21"/>
                  </a:cubicBezTo>
                  <a:cubicBezTo>
                    <a:pt x="1209" y="35"/>
                    <a:pt x="1209" y="35"/>
                    <a:pt x="1209" y="35"/>
                  </a:cubicBezTo>
                  <a:cubicBezTo>
                    <a:pt x="1208" y="34"/>
                    <a:pt x="1208" y="34"/>
                    <a:pt x="1208" y="34"/>
                  </a:cubicBezTo>
                  <a:cubicBezTo>
                    <a:pt x="1197" y="23"/>
                    <a:pt x="1185" y="19"/>
                    <a:pt x="1168" y="19"/>
                  </a:cubicBezTo>
                  <a:cubicBezTo>
                    <a:pt x="1146" y="19"/>
                    <a:pt x="1132" y="31"/>
                    <a:pt x="1132" y="51"/>
                  </a:cubicBezTo>
                  <a:cubicBezTo>
                    <a:pt x="1132" y="59"/>
                    <a:pt x="1134" y="66"/>
                    <a:pt x="1139" y="70"/>
                  </a:cubicBezTo>
                  <a:cubicBezTo>
                    <a:pt x="1144" y="75"/>
                    <a:pt x="1152" y="78"/>
                    <a:pt x="1162" y="79"/>
                  </a:cubicBezTo>
                  <a:cubicBezTo>
                    <a:pt x="1182" y="83"/>
                    <a:pt x="1182" y="83"/>
                    <a:pt x="1182" y="83"/>
                  </a:cubicBezTo>
                  <a:cubicBezTo>
                    <a:pt x="1199" y="85"/>
                    <a:pt x="1207" y="88"/>
                    <a:pt x="1215" y="96"/>
                  </a:cubicBezTo>
                  <a:cubicBezTo>
                    <a:pt x="1225" y="104"/>
                    <a:pt x="1231" y="117"/>
                    <a:pt x="1231" y="132"/>
                  </a:cubicBezTo>
                  <a:cubicBezTo>
                    <a:pt x="1231" y="163"/>
                    <a:pt x="1206" y="183"/>
                    <a:pt x="1168" y="183"/>
                  </a:cubicBezTo>
                  <a:close/>
                  <a:moveTo>
                    <a:pt x="499" y="182"/>
                  </a:moveTo>
                  <a:cubicBezTo>
                    <a:pt x="495" y="182"/>
                    <a:pt x="495" y="182"/>
                    <a:pt x="495" y="182"/>
                  </a:cubicBezTo>
                  <a:cubicBezTo>
                    <a:pt x="475" y="182"/>
                    <a:pt x="462" y="168"/>
                    <a:pt x="462" y="147"/>
                  </a:cubicBezTo>
                  <a:cubicBezTo>
                    <a:pt x="462" y="73"/>
                    <a:pt x="462" y="73"/>
                    <a:pt x="462" y="73"/>
                  </a:cubicBezTo>
                  <a:cubicBezTo>
                    <a:pt x="446" y="73"/>
                    <a:pt x="446" y="73"/>
                    <a:pt x="446" y="73"/>
                  </a:cubicBezTo>
                  <a:cubicBezTo>
                    <a:pt x="446" y="56"/>
                    <a:pt x="446" y="56"/>
                    <a:pt x="446" y="56"/>
                  </a:cubicBezTo>
                  <a:cubicBezTo>
                    <a:pt x="462" y="56"/>
                    <a:pt x="462" y="56"/>
                    <a:pt x="462" y="56"/>
                  </a:cubicBezTo>
                  <a:cubicBezTo>
                    <a:pt x="462" y="19"/>
                    <a:pt x="462" y="19"/>
                    <a:pt x="462" y="19"/>
                  </a:cubicBezTo>
                  <a:cubicBezTo>
                    <a:pt x="482" y="19"/>
                    <a:pt x="482" y="19"/>
                    <a:pt x="482" y="19"/>
                  </a:cubicBezTo>
                  <a:cubicBezTo>
                    <a:pt x="482" y="56"/>
                    <a:pt x="482" y="56"/>
                    <a:pt x="482" y="56"/>
                  </a:cubicBezTo>
                  <a:cubicBezTo>
                    <a:pt x="509" y="56"/>
                    <a:pt x="509" y="56"/>
                    <a:pt x="509" y="56"/>
                  </a:cubicBezTo>
                  <a:cubicBezTo>
                    <a:pt x="509" y="73"/>
                    <a:pt x="509" y="73"/>
                    <a:pt x="509" y="73"/>
                  </a:cubicBezTo>
                  <a:cubicBezTo>
                    <a:pt x="482" y="73"/>
                    <a:pt x="482" y="73"/>
                    <a:pt x="482" y="73"/>
                  </a:cubicBezTo>
                  <a:cubicBezTo>
                    <a:pt x="482" y="147"/>
                    <a:pt x="482" y="147"/>
                    <a:pt x="482" y="147"/>
                  </a:cubicBezTo>
                  <a:cubicBezTo>
                    <a:pt x="482" y="158"/>
                    <a:pt x="488" y="164"/>
                    <a:pt x="498" y="164"/>
                  </a:cubicBezTo>
                  <a:cubicBezTo>
                    <a:pt x="499" y="164"/>
                    <a:pt x="499" y="164"/>
                    <a:pt x="499" y="164"/>
                  </a:cubicBezTo>
                  <a:cubicBezTo>
                    <a:pt x="499" y="165"/>
                    <a:pt x="499" y="165"/>
                    <a:pt x="499" y="165"/>
                  </a:cubicBezTo>
                  <a:lnTo>
                    <a:pt x="499" y="182"/>
                  </a:lnTo>
                  <a:close/>
                  <a:moveTo>
                    <a:pt x="616" y="182"/>
                  </a:moveTo>
                  <a:cubicBezTo>
                    <a:pt x="612" y="182"/>
                    <a:pt x="612" y="182"/>
                    <a:pt x="612" y="182"/>
                  </a:cubicBezTo>
                  <a:cubicBezTo>
                    <a:pt x="591" y="182"/>
                    <a:pt x="579" y="169"/>
                    <a:pt x="579" y="148"/>
                  </a:cubicBezTo>
                  <a:cubicBezTo>
                    <a:pt x="579" y="2"/>
                    <a:pt x="579" y="2"/>
                    <a:pt x="579" y="2"/>
                  </a:cubicBezTo>
                  <a:cubicBezTo>
                    <a:pt x="600" y="2"/>
                    <a:pt x="600" y="2"/>
                    <a:pt x="600" y="2"/>
                  </a:cubicBezTo>
                  <a:cubicBezTo>
                    <a:pt x="600" y="147"/>
                    <a:pt x="600" y="147"/>
                    <a:pt x="600" y="147"/>
                  </a:cubicBezTo>
                  <a:cubicBezTo>
                    <a:pt x="600" y="159"/>
                    <a:pt x="604" y="164"/>
                    <a:pt x="615" y="164"/>
                  </a:cubicBezTo>
                  <a:cubicBezTo>
                    <a:pt x="616" y="164"/>
                    <a:pt x="616" y="164"/>
                    <a:pt x="616" y="164"/>
                  </a:cubicBezTo>
                  <a:cubicBezTo>
                    <a:pt x="616" y="165"/>
                    <a:pt x="616" y="165"/>
                    <a:pt x="616" y="165"/>
                  </a:cubicBezTo>
                  <a:lnTo>
                    <a:pt x="616" y="182"/>
                  </a:lnTo>
                  <a:close/>
                </a:path>
              </a:pathLst>
            </a:custGeom>
            <a:solidFill>
              <a:srgbClr val="7778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9"/>
            <p:cNvSpPr>
              <a:spLocks noEditPoints="1"/>
            </p:cNvSpPr>
            <p:nvPr userDrawn="1"/>
          </p:nvSpPr>
          <p:spPr bwMode="gray">
            <a:xfrm>
              <a:off x="7474095" y="5549900"/>
              <a:ext cx="76200" cy="41275"/>
            </a:xfrm>
            <a:custGeom>
              <a:avLst/>
              <a:gdLst>
                <a:gd name="T0" fmla="*/ 12 w 48"/>
                <a:gd name="T1" fmla="*/ 4 h 26"/>
                <a:gd name="T2" fmla="*/ 12 w 48"/>
                <a:gd name="T3" fmla="*/ 26 h 26"/>
                <a:gd name="T4" fmla="*/ 7 w 48"/>
                <a:gd name="T5" fmla="*/ 26 h 26"/>
                <a:gd name="T6" fmla="*/ 7 w 48"/>
                <a:gd name="T7" fmla="*/ 4 h 26"/>
                <a:gd name="T8" fmla="*/ 0 w 48"/>
                <a:gd name="T9" fmla="*/ 4 h 26"/>
                <a:gd name="T10" fmla="*/ 0 w 48"/>
                <a:gd name="T11" fmla="*/ 0 h 26"/>
                <a:gd name="T12" fmla="*/ 18 w 48"/>
                <a:gd name="T13" fmla="*/ 0 h 26"/>
                <a:gd name="T14" fmla="*/ 18 w 48"/>
                <a:gd name="T15" fmla="*/ 4 h 26"/>
                <a:gd name="T16" fmla="*/ 12 w 48"/>
                <a:gd name="T17" fmla="*/ 4 h 26"/>
                <a:gd name="T18" fmla="*/ 43 w 48"/>
                <a:gd name="T19" fmla="*/ 26 h 26"/>
                <a:gd name="T20" fmla="*/ 43 w 48"/>
                <a:gd name="T21" fmla="*/ 9 h 26"/>
                <a:gd name="T22" fmla="*/ 37 w 48"/>
                <a:gd name="T23" fmla="*/ 20 h 26"/>
                <a:gd name="T24" fmla="*/ 33 w 48"/>
                <a:gd name="T25" fmla="*/ 20 h 26"/>
                <a:gd name="T26" fmla="*/ 27 w 48"/>
                <a:gd name="T27" fmla="*/ 9 h 26"/>
                <a:gd name="T28" fmla="*/ 27 w 48"/>
                <a:gd name="T29" fmla="*/ 26 h 26"/>
                <a:gd name="T30" fmla="*/ 23 w 48"/>
                <a:gd name="T31" fmla="*/ 26 h 26"/>
                <a:gd name="T32" fmla="*/ 23 w 48"/>
                <a:gd name="T33" fmla="*/ 0 h 26"/>
                <a:gd name="T34" fmla="*/ 27 w 48"/>
                <a:gd name="T35" fmla="*/ 0 h 26"/>
                <a:gd name="T36" fmla="*/ 35 w 48"/>
                <a:gd name="T37" fmla="*/ 15 h 26"/>
                <a:gd name="T38" fmla="*/ 43 w 48"/>
                <a:gd name="T39" fmla="*/ 0 h 26"/>
                <a:gd name="T40" fmla="*/ 48 w 48"/>
                <a:gd name="T41" fmla="*/ 0 h 26"/>
                <a:gd name="T42" fmla="*/ 48 w 48"/>
                <a:gd name="T43" fmla="*/ 26 h 26"/>
                <a:gd name="T44" fmla="*/ 43 w 48"/>
                <a:gd name="T4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8" h="26">
                  <a:moveTo>
                    <a:pt x="12" y="4"/>
                  </a:moveTo>
                  <a:lnTo>
                    <a:pt x="12" y="26"/>
                  </a:lnTo>
                  <a:lnTo>
                    <a:pt x="7" y="26"/>
                  </a:lnTo>
                  <a:lnTo>
                    <a:pt x="7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4"/>
                  </a:lnTo>
                  <a:lnTo>
                    <a:pt x="12" y="4"/>
                  </a:lnTo>
                  <a:close/>
                  <a:moveTo>
                    <a:pt x="43" y="26"/>
                  </a:moveTo>
                  <a:lnTo>
                    <a:pt x="43" y="9"/>
                  </a:lnTo>
                  <a:lnTo>
                    <a:pt x="37" y="20"/>
                  </a:lnTo>
                  <a:lnTo>
                    <a:pt x="33" y="20"/>
                  </a:lnTo>
                  <a:lnTo>
                    <a:pt x="27" y="9"/>
                  </a:lnTo>
                  <a:lnTo>
                    <a:pt x="27" y="26"/>
                  </a:lnTo>
                  <a:lnTo>
                    <a:pt x="23" y="26"/>
                  </a:lnTo>
                  <a:lnTo>
                    <a:pt x="23" y="0"/>
                  </a:lnTo>
                  <a:lnTo>
                    <a:pt x="27" y="0"/>
                  </a:lnTo>
                  <a:lnTo>
                    <a:pt x="35" y="15"/>
                  </a:lnTo>
                  <a:lnTo>
                    <a:pt x="43" y="0"/>
                  </a:lnTo>
                  <a:lnTo>
                    <a:pt x="48" y="0"/>
                  </a:lnTo>
                  <a:lnTo>
                    <a:pt x="48" y="26"/>
                  </a:lnTo>
                  <a:lnTo>
                    <a:pt x="43" y="26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gray">
            <a:xfrm>
              <a:off x="4813445" y="5438775"/>
              <a:ext cx="549275" cy="493712"/>
            </a:xfrm>
            <a:custGeom>
              <a:avLst/>
              <a:gdLst>
                <a:gd name="T0" fmla="*/ 351 w 351"/>
                <a:gd name="T1" fmla="*/ 69 h 314"/>
                <a:gd name="T2" fmla="*/ 319 w 351"/>
                <a:gd name="T3" fmla="*/ 87 h 314"/>
                <a:gd name="T4" fmla="*/ 264 w 351"/>
                <a:gd name="T5" fmla="*/ 32 h 314"/>
                <a:gd name="T6" fmla="*/ 283 w 351"/>
                <a:gd name="T7" fmla="*/ 0 h 314"/>
                <a:gd name="T8" fmla="*/ 351 w 351"/>
                <a:gd name="T9" fmla="*/ 69 h 314"/>
                <a:gd name="T10" fmla="*/ 37 w 351"/>
                <a:gd name="T11" fmla="*/ 163 h 314"/>
                <a:gd name="T12" fmla="*/ 0 w 351"/>
                <a:gd name="T13" fmla="*/ 163 h 314"/>
                <a:gd name="T14" fmla="*/ 25 w 351"/>
                <a:gd name="T15" fmla="*/ 257 h 314"/>
                <a:gd name="T16" fmla="*/ 57 w 351"/>
                <a:gd name="T17" fmla="*/ 239 h 314"/>
                <a:gd name="T18" fmla="*/ 37 w 351"/>
                <a:gd name="T19" fmla="*/ 163 h 314"/>
                <a:gd name="T20" fmla="*/ 130 w 351"/>
                <a:gd name="T21" fmla="*/ 63 h 314"/>
                <a:gd name="T22" fmla="*/ 112 w 351"/>
                <a:gd name="T23" fmla="*/ 31 h 314"/>
                <a:gd name="T24" fmla="*/ 37 w 351"/>
                <a:gd name="T25" fmla="*/ 163 h 314"/>
                <a:gd name="T26" fmla="*/ 72 w 351"/>
                <a:gd name="T27" fmla="*/ 163 h 314"/>
                <a:gd name="T28" fmla="*/ 130 w 351"/>
                <a:gd name="T29" fmla="*/ 63 h 314"/>
                <a:gd name="T30" fmla="*/ 88 w 351"/>
                <a:gd name="T31" fmla="*/ 221 h 314"/>
                <a:gd name="T32" fmla="*/ 57 w 351"/>
                <a:gd name="T33" fmla="*/ 239 h 314"/>
                <a:gd name="T34" fmla="*/ 188 w 351"/>
                <a:gd name="T35" fmla="*/ 314 h 314"/>
                <a:gd name="T36" fmla="*/ 188 w 351"/>
                <a:gd name="T37" fmla="*/ 278 h 314"/>
                <a:gd name="T38" fmla="*/ 88 w 351"/>
                <a:gd name="T39" fmla="*/ 22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1" h="314">
                  <a:moveTo>
                    <a:pt x="351" y="69"/>
                  </a:moveTo>
                  <a:cubicBezTo>
                    <a:pt x="319" y="87"/>
                    <a:pt x="319" y="87"/>
                    <a:pt x="319" y="87"/>
                  </a:cubicBezTo>
                  <a:cubicBezTo>
                    <a:pt x="306" y="64"/>
                    <a:pt x="287" y="45"/>
                    <a:pt x="264" y="32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311" y="16"/>
                    <a:pt x="335" y="40"/>
                    <a:pt x="351" y="69"/>
                  </a:cubicBezTo>
                  <a:close/>
                  <a:moveTo>
                    <a:pt x="37" y="163"/>
                  </a:moveTo>
                  <a:cubicBezTo>
                    <a:pt x="0" y="163"/>
                    <a:pt x="0" y="163"/>
                    <a:pt x="0" y="163"/>
                  </a:cubicBezTo>
                  <a:cubicBezTo>
                    <a:pt x="0" y="197"/>
                    <a:pt x="9" y="230"/>
                    <a:pt x="25" y="257"/>
                  </a:cubicBezTo>
                  <a:cubicBezTo>
                    <a:pt x="57" y="239"/>
                    <a:pt x="57" y="239"/>
                    <a:pt x="57" y="239"/>
                  </a:cubicBezTo>
                  <a:cubicBezTo>
                    <a:pt x="44" y="216"/>
                    <a:pt x="37" y="190"/>
                    <a:pt x="37" y="163"/>
                  </a:cubicBezTo>
                  <a:close/>
                  <a:moveTo>
                    <a:pt x="130" y="63"/>
                  </a:moveTo>
                  <a:cubicBezTo>
                    <a:pt x="112" y="31"/>
                    <a:pt x="112" y="31"/>
                    <a:pt x="112" y="31"/>
                  </a:cubicBezTo>
                  <a:cubicBezTo>
                    <a:pt x="67" y="58"/>
                    <a:pt x="37" y="107"/>
                    <a:pt x="37" y="163"/>
                  </a:cubicBezTo>
                  <a:cubicBezTo>
                    <a:pt x="72" y="163"/>
                    <a:pt x="72" y="163"/>
                    <a:pt x="72" y="163"/>
                  </a:cubicBezTo>
                  <a:cubicBezTo>
                    <a:pt x="72" y="120"/>
                    <a:pt x="96" y="83"/>
                    <a:pt x="130" y="63"/>
                  </a:cubicBezTo>
                  <a:close/>
                  <a:moveTo>
                    <a:pt x="88" y="221"/>
                  </a:moveTo>
                  <a:cubicBezTo>
                    <a:pt x="57" y="239"/>
                    <a:pt x="57" y="239"/>
                    <a:pt x="57" y="239"/>
                  </a:cubicBezTo>
                  <a:cubicBezTo>
                    <a:pt x="83" y="284"/>
                    <a:pt x="132" y="314"/>
                    <a:pt x="188" y="314"/>
                  </a:cubicBezTo>
                  <a:cubicBezTo>
                    <a:pt x="188" y="278"/>
                    <a:pt x="188" y="278"/>
                    <a:pt x="188" y="278"/>
                  </a:cubicBezTo>
                  <a:cubicBezTo>
                    <a:pt x="145" y="278"/>
                    <a:pt x="108" y="255"/>
                    <a:pt x="88" y="221"/>
                  </a:cubicBezTo>
                  <a:close/>
                </a:path>
              </a:pathLst>
            </a:custGeom>
            <a:solidFill>
              <a:srgbClr val="ACDA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gray">
            <a:xfrm>
              <a:off x="4813445" y="5397500"/>
              <a:ext cx="442913" cy="593725"/>
            </a:xfrm>
            <a:custGeom>
              <a:avLst/>
              <a:gdLst>
                <a:gd name="T0" fmla="*/ 25 w 283"/>
                <a:gd name="T1" fmla="*/ 283 h 377"/>
                <a:gd name="T2" fmla="*/ 57 w 283"/>
                <a:gd name="T3" fmla="*/ 265 h 377"/>
                <a:gd name="T4" fmla="*/ 188 w 283"/>
                <a:gd name="T5" fmla="*/ 340 h 377"/>
                <a:gd name="T6" fmla="*/ 264 w 283"/>
                <a:gd name="T7" fmla="*/ 320 h 377"/>
                <a:gd name="T8" fmla="*/ 282 w 283"/>
                <a:gd name="T9" fmla="*/ 352 h 377"/>
                <a:gd name="T10" fmla="*/ 188 w 283"/>
                <a:gd name="T11" fmla="*/ 377 h 377"/>
                <a:gd name="T12" fmla="*/ 25 w 283"/>
                <a:gd name="T13" fmla="*/ 283 h 377"/>
                <a:gd name="T14" fmla="*/ 188 w 283"/>
                <a:gd name="T15" fmla="*/ 37 h 377"/>
                <a:gd name="T16" fmla="*/ 264 w 283"/>
                <a:gd name="T17" fmla="*/ 58 h 377"/>
                <a:gd name="T18" fmla="*/ 283 w 283"/>
                <a:gd name="T19" fmla="*/ 26 h 377"/>
                <a:gd name="T20" fmla="*/ 188 w 283"/>
                <a:gd name="T21" fmla="*/ 0 h 377"/>
                <a:gd name="T22" fmla="*/ 0 w 283"/>
                <a:gd name="T23" fmla="*/ 189 h 377"/>
                <a:gd name="T24" fmla="*/ 37 w 283"/>
                <a:gd name="T25" fmla="*/ 189 h 377"/>
                <a:gd name="T26" fmla="*/ 188 w 283"/>
                <a:gd name="T27" fmla="*/ 37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3" h="377">
                  <a:moveTo>
                    <a:pt x="25" y="283"/>
                  </a:moveTo>
                  <a:cubicBezTo>
                    <a:pt x="57" y="265"/>
                    <a:pt x="57" y="265"/>
                    <a:pt x="57" y="265"/>
                  </a:cubicBezTo>
                  <a:cubicBezTo>
                    <a:pt x="83" y="310"/>
                    <a:pt x="132" y="340"/>
                    <a:pt x="188" y="340"/>
                  </a:cubicBezTo>
                  <a:cubicBezTo>
                    <a:pt x="216" y="340"/>
                    <a:pt x="241" y="332"/>
                    <a:pt x="264" y="320"/>
                  </a:cubicBezTo>
                  <a:cubicBezTo>
                    <a:pt x="282" y="352"/>
                    <a:pt x="282" y="352"/>
                    <a:pt x="282" y="352"/>
                  </a:cubicBezTo>
                  <a:cubicBezTo>
                    <a:pt x="255" y="368"/>
                    <a:pt x="222" y="377"/>
                    <a:pt x="188" y="377"/>
                  </a:cubicBezTo>
                  <a:cubicBezTo>
                    <a:pt x="118" y="377"/>
                    <a:pt x="58" y="339"/>
                    <a:pt x="25" y="283"/>
                  </a:cubicBezTo>
                  <a:close/>
                  <a:moveTo>
                    <a:pt x="188" y="37"/>
                  </a:moveTo>
                  <a:cubicBezTo>
                    <a:pt x="216" y="37"/>
                    <a:pt x="242" y="45"/>
                    <a:pt x="264" y="58"/>
                  </a:cubicBezTo>
                  <a:cubicBezTo>
                    <a:pt x="283" y="26"/>
                    <a:pt x="283" y="26"/>
                    <a:pt x="283" y="26"/>
                  </a:cubicBezTo>
                  <a:cubicBezTo>
                    <a:pt x="255" y="10"/>
                    <a:pt x="222" y="0"/>
                    <a:pt x="188" y="0"/>
                  </a:cubicBezTo>
                  <a:cubicBezTo>
                    <a:pt x="84" y="0"/>
                    <a:pt x="0" y="85"/>
                    <a:pt x="0" y="189"/>
                  </a:cubicBezTo>
                  <a:cubicBezTo>
                    <a:pt x="37" y="189"/>
                    <a:pt x="37" y="189"/>
                    <a:pt x="37" y="189"/>
                  </a:cubicBezTo>
                  <a:cubicBezTo>
                    <a:pt x="37" y="105"/>
                    <a:pt x="104" y="37"/>
                    <a:pt x="188" y="37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9"/>
            <p:cNvSpPr>
              <a:spLocks noEditPoints="1"/>
            </p:cNvSpPr>
            <p:nvPr userDrawn="1"/>
          </p:nvSpPr>
          <p:spPr bwMode="gray">
            <a:xfrm>
              <a:off x="4926157" y="5511800"/>
              <a:ext cx="476250" cy="365125"/>
            </a:xfrm>
            <a:custGeom>
              <a:avLst/>
              <a:gdLst>
                <a:gd name="T0" fmla="*/ 247 w 304"/>
                <a:gd name="T1" fmla="*/ 40 h 231"/>
                <a:gd name="T2" fmla="*/ 279 w 304"/>
                <a:gd name="T3" fmla="*/ 22 h 231"/>
                <a:gd name="T4" fmla="*/ 304 w 304"/>
                <a:gd name="T5" fmla="*/ 116 h 231"/>
                <a:gd name="T6" fmla="*/ 279 w 304"/>
                <a:gd name="T7" fmla="*/ 210 h 231"/>
                <a:gd name="T8" fmla="*/ 247 w 304"/>
                <a:gd name="T9" fmla="*/ 191 h 231"/>
                <a:gd name="T10" fmla="*/ 267 w 304"/>
                <a:gd name="T11" fmla="*/ 116 h 231"/>
                <a:gd name="T12" fmla="*/ 247 w 304"/>
                <a:gd name="T13" fmla="*/ 40 h 231"/>
                <a:gd name="T14" fmla="*/ 223 w 304"/>
                <a:gd name="T15" fmla="*/ 222 h 231"/>
                <a:gd name="T16" fmla="*/ 198 w 304"/>
                <a:gd name="T17" fmla="*/ 197 h 231"/>
                <a:gd name="T18" fmla="*/ 116 w 304"/>
                <a:gd name="T19" fmla="*/ 231 h 231"/>
                <a:gd name="T20" fmla="*/ 0 w 304"/>
                <a:gd name="T21" fmla="*/ 116 h 231"/>
                <a:gd name="T22" fmla="*/ 116 w 304"/>
                <a:gd name="T23" fmla="*/ 0 h 231"/>
                <a:gd name="T24" fmla="*/ 231 w 304"/>
                <a:gd name="T25" fmla="*/ 116 h 231"/>
                <a:gd name="T26" fmla="*/ 216 w 304"/>
                <a:gd name="T27" fmla="*/ 173 h 231"/>
                <a:gd name="T28" fmla="*/ 247 w 304"/>
                <a:gd name="T29" fmla="*/ 191 h 231"/>
                <a:gd name="T30" fmla="*/ 223 w 304"/>
                <a:gd name="T31" fmla="*/ 222 h 231"/>
                <a:gd name="T32" fmla="*/ 195 w 304"/>
                <a:gd name="T33" fmla="*/ 116 h 231"/>
                <a:gd name="T34" fmla="*/ 116 w 304"/>
                <a:gd name="T35" fmla="*/ 37 h 231"/>
                <a:gd name="T36" fmla="*/ 37 w 304"/>
                <a:gd name="T37" fmla="*/ 116 h 231"/>
                <a:gd name="T38" fmla="*/ 116 w 304"/>
                <a:gd name="T39" fmla="*/ 194 h 231"/>
                <a:gd name="T40" fmla="*/ 195 w 304"/>
                <a:gd name="T41" fmla="*/ 116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4" h="231">
                  <a:moveTo>
                    <a:pt x="247" y="40"/>
                  </a:moveTo>
                  <a:cubicBezTo>
                    <a:pt x="279" y="22"/>
                    <a:pt x="279" y="22"/>
                    <a:pt x="279" y="22"/>
                  </a:cubicBezTo>
                  <a:cubicBezTo>
                    <a:pt x="295" y="49"/>
                    <a:pt x="304" y="81"/>
                    <a:pt x="304" y="116"/>
                  </a:cubicBezTo>
                  <a:cubicBezTo>
                    <a:pt x="304" y="150"/>
                    <a:pt x="295" y="182"/>
                    <a:pt x="279" y="210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60" y="169"/>
                    <a:pt x="267" y="143"/>
                    <a:pt x="267" y="116"/>
                  </a:cubicBezTo>
                  <a:cubicBezTo>
                    <a:pt x="267" y="88"/>
                    <a:pt x="260" y="62"/>
                    <a:pt x="247" y="40"/>
                  </a:cubicBezTo>
                  <a:close/>
                  <a:moveTo>
                    <a:pt x="223" y="222"/>
                  </a:moveTo>
                  <a:cubicBezTo>
                    <a:pt x="198" y="197"/>
                    <a:pt x="198" y="197"/>
                    <a:pt x="198" y="197"/>
                  </a:cubicBezTo>
                  <a:cubicBezTo>
                    <a:pt x="177" y="218"/>
                    <a:pt x="148" y="231"/>
                    <a:pt x="116" y="231"/>
                  </a:cubicBezTo>
                  <a:cubicBezTo>
                    <a:pt x="52" y="231"/>
                    <a:pt x="0" y="179"/>
                    <a:pt x="0" y="116"/>
                  </a:cubicBezTo>
                  <a:cubicBezTo>
                    <a:pt x="0" y="52"/>
                    <a:pt x="52" y="0"/>
                    <a:pt x="116" y="0"/>
                  </a:cubicBezTo>
                  <a:cubicBezTo>
                    <a:pt x="180" y="0"/>
                    <a:pt x="231" y="52"/>
                    <a:pt x="231" y="116"/>
                  </a:cubicBezTo>
                  <a:cubicBezTo>
                    <a:pt x="231" y="137"/>
                    <a:pt x="226" y="156"/>
                    <a:pt x="216" y="173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40" y="203"/>
                    <a:pt x="232" y="213"/>
                    <a:pt x="223" y="222"/>
                  </a:cubicBezTo>
                  <a:close/>
                  <a:moveTo>
                    <a:pt x="195" y="116"/>
                  </a:moveTo>
                  <a:cubicBezTo>
                    <a:pt x="195" y="72"/>
                    <a:pt x="159" y="37"/>
                    <a:pt x="116" y="37"/>
                  </a:cubicBezTo>
                  <a:cubicBezTo>
                    <a:pt x="72" y="37"/>
                    <a:pt x="37" y="72"/>
                    <a:pt x="37" y="116"/>
                  </a:cubicBezTo>
                  <a:cubicBezTo>
                    <a:pt x="37" y="159"/>
                    <a:pt x="72" y="194"/>
                    <a:pt x="116" y="194"/>
                  </a:cubicBezTo>
                  <a:cubicBezTo>
                    <a:pt x="159" y="194"/>
                    <a:pt x="195" y="159"/>
                    <a:pt x="195" y="116"/>
                  </a:cubicBezTo>
                  <a:close/>
                </a:path>
              </a:pathLst>
            </a:custGeom>
            <a:solidFill>
              <a:srgbClr val="743C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58264868"/>
      </p:ext>
    </p:extLst>
  </p:cSld>
  <p:clrMap bg1="lt1" tx1="dk1" bg2="lt2" tx2="dk2" accent1="accent1" accent2="accent2" accent3="accent3" accent4="accent4" accent5="accent5" accent6="accent6" hlink="hlink" folHlink="folHlink"/>
  <p:hf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Image Placeholder 14"/>
          <p:cNvSpPr>
            <a:spLocks noGrp="1" noRot="1" noChangeAspect="1"/>
          </p:cNvSpPr>
          <p:nvPr>
            <p:ph type="sldImg" idx="2"/>
          </p:nvPr>
        </p:nvSpPr>
        <p:spPr>
          <a:xfrm>
            <a:off x="3746146" y="6576746"/>
            <a:ext cx="2711804" cy="2033854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1" name="Notes Placeholder 10"/>
          <p:cNvSpPr>
            <a:spLocks noGrp="1"/>
          </p:cNvSpPr>
          <p:nvPr>
            <p:ph type="body" sz="quarter" idx="3"/>
          </p:nvPr>
        </p:nvSpPr>
        <p:spPr>
          <a:xfrm>
            <a:off x="387350" y="1104900"/>
            <a:ext cx="6051550" cy="5372100"/>
          </a:xfrm>
          <a:prstGeom prst="rect">
            <a:avLst/>
          </a:prstGeom>
        </p:spPr>
        <p:txBody>
          <a:bodyPr vert="horz" lIns="27432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5"/>
          </p:nvPr>
        </p:nvSpPr>
        <p:spPr>
          <a:xfrm>
            <a:off x="3836997" y="8685213"/>
            <a:ext cx="2668587" cy="306387"/>
          </a:xfrm>
          <a:prstGeom prst="rect">
            <a:avLst/>
          </a:prstGeom>
        </p:spPr>
        <p:txBody>
          <a:bodyPr vert="horz" lIns="91440" tIns="45720" rIns="18288" bIns="45720" rtlCol="0" anchor="ctr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DADD4AB0-DA56-AC40-9592-4E955E6D458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Header Placeholder 12"/>
          <p:cNvSpPr>
            <a:spLocks noGrp="1"/>
          </p:cNvSpPr>
          <p:nvPr>
            <p:ph type="hdr" sz="quarter"/>
          </p:nvPr>
        </p:nvSpPr>
        <p:spPr>
          <a:xfrm>
            <a:off x="390525" y="323850"/>
            <a:ext cx="3695700" cy="457200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l">
              <a:defRPr sz="12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Date Placeholder 13"/>
          <p:cNvSpPr>
            <a:spLocks noGrp="1"/>
          </p:cNvSpPr>
          <p:nvPr>
            <p:ph type="dt" idx="1"/>
          </p:nvPr>
        </p:nvSpPr>
        <p:spPr>
          <a:xfrm>
            <a:off x="390525" y="781050"/>
            <a:ext cx="3695700" cy="304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latin typeface="+mj-lt"/>
                <a:cs typeface="Georgia"/>
              </a:defRPr>
            </a:lvl1pPr>
          </a:lstStyle>
          <a:p>
            <a:fld id="{2D0060DF-931D-4D99-BEBF-DE2982913789}" type="datetime1">
              <a:rPr lang="en-US" smtClean="0"/>
              <a:t>9/17/2017</a:t>
            </a:fld>
            <a:endParaRPr lang="en-US" dirty="0"/>
          </a:p>
        </p:txBody>
      </p:sp>
      <p:grpSp>
        <p:nvGrpSpPr>
          <p:cNvPr id="8" name="Group 7"/>
          <p:cNvGrpSpPr/>
          <p:nvPr/>
        </p:nvGrpSpPr>
        <p:grpSpPr bwMode="gray">
          <a:xfrm>
            <a:off x="5073225" y="406400"/>
            <a:ext cx="1416522" cy="307297"/>
            <a:chOff x="4813445" y="5397500"/>
            <a:chExt cx="2736850" cy="593725"/>
          </a:xfrm>
        </p:grpSpPr>
        <p:sp>
          <p:nvSpPr>
            <p:cNvPr id="9" name="Freeform 8"/>
            <p:cNvSpPr>
              <a:spLocks noEditPoints="1"/>
            </p:cNvSpPr>
            <p:nvPr userDrawn="1"/>
          </p:nvSpPr>
          <p:spPr bwMode="gray">
            <a:xfrm>
              <a:off x="5526232" y="5549900"/>
              <a:ext cx="1927225" cy="301625"/>
            </a:xfrm>
            <a:custGeom>
              <a:avLst/>
              <a:gdLst>
                <a:gd name="T0" fmla="*/ 64 w 1231"/>
                <a:gd name="T1" fmla="*/ 183 h 191"/>
                <a:gd name="T2" fmla="*/ 18 w 1231"/>
                <a:gd name="T3" fmla="*/ 18 h 191"/>
                <a:gd name="T4" fmla="*/ 127 w 1231"/>
                <a:gd name="T5" fmla="*/ 92 h 191"/>
                <a:gd name="T6" fmla="*/ 121 w 1231"/>
                <a:gd name="T7" fmla="*/ 191 h 191"/>
                <a:gd name="T8" fmla="*/ 22 w 1231"/>
                <a:gd name="T9" fmla="*/ 92 h 191"/>
                <a:gd name="T10" fmla="*/ 87 w 1231"/>
                <a:gd name="T11" fmla="*/ 156 h 191"/>
                <a:gd name="T12" fmla="*/ 99 w 1231"/>
                <a:gd name="T13" fmla="*/ 142 h 191"/>
                <a:gd name="T14" fmla="*/ 64 w 1231"/>
                <a:gd name="T15" fmla="*/ 20 h 191"/>
                <a:gd name="T16" fmla="*/ 152 w 1231"/>
                <a:gd name="T17" fmla="*/ 136 h 191"/>
                <a:gd name="T18" fmla="*/ 172 w 1231"/>
                <a:gd name="T19" fmla="*/ 133 h 191"/>
                <a:gd name="T20" fmla="*/ 230 w 1231"/>
                <a:gd name="T21" fmla="*/ 56 h 191"/>
                <a:gd name="T22" fmla="*/ 231 w 1231"/>
                <a:gd name="T23" fmla="*/ 182 h 191"/>
                <a:gd name="T24" fmla="*/ 301 w 1231"/>
                <a:gd name="T25" fmla="*/ 182 h 191"/>
                <a:gd name="T26" fmla="*/ 281 w 1231"/>
                <a:gd name="T27" fmla="*/ 56 h 191"/>
                <a:gd name="T28" fmla="*/ 301 w 1231"/>
                <a:gd name="T29" fmla="*/ 182 h 191"/>
                <a:gd name="T30" fmla="*/ 280 w 1231"/>
                <a:gd name="T31" fmla="*/ 1 h 191"/>
                <a:gd name="T32" fmla="*/ 430 w 1231"/>
                <a:gd name="T33" fmla="*/ 182 h 191"/>
                <a:gd name="T34" fmla="*/ 381 w 1231"/>
                <a:gd name="T35" fmla="*/ 73 h 191"/>
                <a:gd name="T36" fmla="*/ 331 w 1231"/>
                <a:gd name="T37" fmla="*/ 182 h 191"/>
                <a:gd name="T38" fmla="*/ 352 w 1231"/>
                <a:gd name="T39" fmla="*/ 68 h 191"/>
                <a:gd name="T40" fmla="*/ 430 w 1231"/>
                <a:gd name="T41" fmla="*/ 102 h 191"/>
                <a:gd name="T42" fmla="*/ 529 w 1231"/>
                <a:gd name="T43" fmla="*/ 182 h 191"/>
                <a:gd name="T44" fmla="*/ 550 w 1231"/>
                <a:gd name="T45" fmla="*/ 56 h 191"/>
                <a:gd name="T46" fmla="*/ 551 w 1231"/>
                <a:gd name="T47" fmla="*/ 24 h 191"/>
                <a:gd name="T48" fmla="*/ 551 w 1231"/>
                <a:gd name="T49" fmla="*/ 1 h 191"/>
                <a:gd name="T50" fmla="*/ 631 w 1231"/>
                <a:gd name="T51" fmla="*/ 119 h 191"/>
                <a:gd name="T52" fmla="*/ 735 w 1231"/>
                <a:gd name="T53" fmla="*/ 125 h 191"/>
                <a:gd name="T54" fmla="*/ 718 w 1231"/>
                <a:gd name="T55" fmla="*/ 151 h 191"/>
                <a:gd name="T56" fmla="*/ 732 w 1231"/>
                <a:gd name="T57" fmla="*/ 164 h 191"/>
                <a:gd name="T58" fmla="*/ 714 w 1231"/>
                <a:gd name="T59" fmla="*/ 109 h 191"/>
                <a:gd name="T60" fmla="*/ 655 w 1231"/>
                <a:gd name="T61" fmla="*/ 90 h 191"/>
                <a:gd name="T62" fmla="*/ 746 w 1231"/>
                <a:gd name="T63" fmla="*/ 165 h 191"/>
                <a:gd name="T64" fmla="*/ 760 w 1231"/>
                <a:gd name="T65" fmla="*/ 151 h 191"/>
                <a:gd name="T66" fmla="*/ 809 w 1231"/>
                <a:gd name="T67" fmla="*/ 128 h 191"/>
                <a:gd name="T68" fmla="*/ 798 w 1231"/>
                <a:gd name="T69" fmla="*/ 55 h 191"/>
                <a:gd name="T70" fmla="*/ 830 w 1231"/>
                <a:gd name="T71" fmla="*/ 83 h 191"/>
                <a:gd name="T72" fmla="*/ 771 w 1231"/>
                <a:gd name="T73" fmla="*/ 92 h 191"/>
                <a:gd name="T74" fmla="*/ 849 w 1231"/>
                <a:gd name="T75" fmla="*/ 144 h 191"/>
                <a:gd name="T76" fmla="*/ 872 w 1231"/>
                <a:gd name="T77" fmla="*/ 182 h 191"/>
                <a:gd name="T78" fmla="*/ 894 w 1231"/>
                <a:gd name="T79" fmla="*/ 2 h 191"/>
                <a:gd name="T80" fmla="*/ 1085 w 1231"/>
                <a:gd name="T81" fmla="*/ 182 h 191"/>
                <a:gd name="T82" fmla="*/ 1017 w 1231"/>
                <a:gd name="T83" fmla="*/ 154 h 191"/>
                <a:gd name="T84" fmla="*/ 952 w 1231"/>
                <a:gd name="T85" fmla="*/ 182 h 191"/>
                <a:gd name="T86" fmla="*/ 951 w 1231"/>
                <a:gd name="T87" fmla="*/ 2 h 191"/>
                <a:gd name="T88" fmla="*/ 1064 w 1231"/>
                <a:gd name="T89" fmla="*/ 2 h 191"/>
                <a:gd name="T90" fmla="*/ 1168 w 1231"/>
                <a:gd name="T91" fmla="*/ 183 h 191"/>
                <a:gd name="T92" fmla="*/ 1120 w 1231"/>
                <a:gd name="T93" fmla="*/ 144 h 191"/>
                <a:gd name="T94" fmla="*/ 1209 w 1231"/>
                <a:gd name="T95" fmla="*/ 132 h 191"/>
                <a:gd name="T96" fmla="*/ 1158 w 1231"/>
                <a:gd name="T97" fmla="*/ 99 h 191"/>
                <a:gd name="T98" fmla="*/ 1169 w 1231"/>
                <a:gd name="T99" fmla="*/ 0 h 191"/>
                <a:gd name="T100" fmla="*/ 1209 w 1231"/>
                <a:gd name="T101" fmla="*/ 35 h 191"/>
                <a:gd name="T102" fmla="*/ 1132 w 1231"/>
                <a:gd name="T103" fmla="*/ 51 h 191"/>
                <a:gd name="T104" fmla="*/ 1182 w 1231"/>
                <a:gd name="T105" fmla="*/ 83 h 191"/>
                <a:gd name="T106" fmla="*/ 1168 w 1231"/>
                <a:gd name="T107" fmla="*/ 183 h 191"/>
                <a:gd name="T108" fmla="*/ 462 w 1231"/>
                <a:gd name="T109" fmla="*/ 147 h 191"/>
                <a:gd name="T110" fmla="*/ 446 w 1231"/>
                <a:gd name="T111" fmla="*/ 56 h 191"/>
                <a:gd name="T112" fmla="*/ 482 w 1231"/>
                <a:gd name="T113" fmla="*/ 19 h 191"/>
                <a:gd name="T114" fmla="*/ 509 w 1231"/>
                <a:gd name="T115" fmla="*/ 73 h 191"/>
                <a:gd name="T116" fmla="*/ 498 w 1231"/>
                <a:gd name="T117" fmla="*/ 164 h 191"/>
                <a:gd name="T118" fmla="*/ 499 w 1231"/>
                <a:gd name="T119" fmla="*/ 182 h 191"/>
                <a:gd name="T120" fmla="*/ 579 w 1231"/>
                <a:gd name="T121" fmla="*/ 148 h 191"/>
                <a:gd name="T122" fmla="*/ 600 w 1231"/>
                <a:gd name="T123" fmla="*/ 147 h 191"/>
                <a:gd name="T124" fmla="*/ 616 w 1231"/>
                <a:gd name="T125" fmla="*/ 16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31" h="191">
                  <a:moveTo>
                    <a:pt x="121" y="191"/>
                  </a:moveTo>
                  <a:cubicBezTo>
                    <a:pt x="102" y="171"/>
                    <a:pt x="102" y="171"/>
                    <a:pt x="102" y="171"/>
                  </a:cubicBezTo>
                  <a:cubicBezTo>
                    <a:pt x="91" y="179"/>
                    <a:pt x="78" y="183"/>
                    <a:pt x="64" y="183"/>
                  </a:cubicBezTo>
                  <a:cubicBezTo>
                    <a:pt x="46" y="183"/>
                    <a:pt x="30" y="177"/>
                    <a:pt x="18" y="165"/>
                  </a:cubicBezTo>
                  <a:cubicBezTo>
                    <a:pt x="1" y="148"/>
                    <a:pt x="0" y="131"/>
                    <a:pt x="0" y="92"/>
                  </a:cubicBezTo>
                  <a:cubicBezTo>
                    <a:pt x="0" y="52"/>
                    <a:pt x="1" y="35"/>
                    <a:pt x="18" y="18"/>
                  </a:cubicBezTo>
                  <a:cubicBezTo>
                    <a:pt x="30" y="6"/>
                    <a:pt x="46" y="0"/>
                    <a:pt x="64" y="0"/>
                  </a:cubicBezTo>
                  <a:cubicBezTo>
                    <a:pt x="82" y="0"/>
                    <a:pt x="97" y="6"/>
                    <a:pt x="109" y="18"/>
                  </a:cubicBezTo>
                  <a:cubicBezTo>
                    <a:pt x="125" y="35"/>
                    <a:pt x="127" y="50"/>
                    <a:pt x="127" y="92"/>
                  </a:cubicBezTo>
                  <a:cubicBezTo>
                    <a:pt x="127" y="125"/>
                    <a:pt x="126" y="143"/>
                    <a:pt x="115" y="158"/>
                  </a:cubicBezTo>
                  <a:cubicBezTo>
                    <a:pt x="135" y="178"/>
                    <a:pt x="135" y="178"/>
                    <a:pt x="135" y="178"/>
                  </a:cubicBezTo>
                  <a:lnTo>
                    <a:pt x="121" y="191"/>
                  </a:lnTo>
                  <a:close/>
                  <a:moveTo>
                    <a:pt x="64" y="20"/>
                  </a:moveTo>
                  <a:cubicBezTo>
                    <a:pt x="52" y="20"/>
                    <a:pt x="41" y="24"/>
                    <a:pt x="34" y="32"/>
                  </a:cubicBezTo>
                  <a:cubicBezTo>
                    <a:pt x="23" y="42"/>
                    <a:pt x="22" y="54"/>
                    <a:pt x="22" y="92"/>
                  </a:cubicBezTo>
                  <a:cubicBezTo>
                    <a:pt x="22" y="129"/>
                    <a:pt x="23" y="141"/>
                    <a:pt x="34" y="152"/>
                  </a:cubicBezTo>
                  <a:cubicBezTo>
                    <a:pt x="41" y="159"/>
                    <a:pt x="52" y="164"/>
                    <a:pt x="64" y="164"/>
                  </a:cubicBezTo>
                  <a:cubicBezTo>
                    <a:pt x="73" y="164"/>
                    <a:pt x="80" y="161"/>
                    <a:pt x="87" y="156"/>
                  </a:cubicBezTo>
                  <a:cubicBezTo>
                    <a:pt x="64" y="134"/>
                    <a:pt x="64" y="134"/>
                    <a:pt x="64" y="134"/>
                  </a:cubicBezTo>
                  <a:cubicBezTo>
                    <a:pt x="78" y="121"/>
                    <a:pt x="78" y="121"/>
                    <a:pt x="78" y="121"/>
                  </a:cubicBezTo>
                  <a:cubicBezTo>
                    <a:pt x="99" y="142"/>
                    <a:pt x="99" y="142"/>
                    <a:pt x="99" y="142"/>
                  </a:cubicBezTo>
                  <a:cubicBezTo>
                    <a:pt x="105" y="132"/>
                    <a:pt x="105" y="118"/>
                    <a:pt x="105" y="92"/>
                  </a:cubicBezTo>
                  <a:cubicBezTo>
                    <a:pt x="105" y="54"/>
                    <a:pt x="104" y="42"/>
                    <a:pt x="93" y="32"/>
                  </a:cubicBezTo>
                  <a:cubicBezTo>
                    <a:pt x="86" y="24"/>
                    <a:pt x="75" y="20"/>
                    <a:pt x="64" y="20"/>
                  </a:cubicBezTo>
                  <a:close/>
                  <a:moveTo>
                    <a:pt x="197" y="183"/>
                  </a:moveTo>
                  <a:cubicBezTo>
                    <a:pt x="184" y="183"/>
                    <a:pt x="172" y="179"/>
                    <a:pt x="165" y="171"/>
                  </a:cubicBezTo>
                  <a:cubicBezTo>
                    <a:pt x="156" y="163"/>
                    <a:pt x="152" y="151"/>
                    <a:pt x="152" y="136"/>
                  </a:cubicBezTo>
                  <a:cubicBezTo>
                    <a:pt x="152" y="56"/>
                    <a:pt x="152" y="56"/>
                    <a:pt x="152" y="56"/>
                  </a:cubicBezTo>
                  <a:cubicBezTo>
                    <a:pt x="172" y="56"/>
                    <a:pt x="172" y="56"/>
                    <a:pt x="172" y="56"/>
                  </a:cubicBezTo>
                  <a:cubicBezTo>
                    <a:pt x="172" y="133"/>
                    <a:pt x="172" y="133"/>
                    <a:pt x="172" y="133"/>
                  </a:cubicBezTo>
                  <a:cubicBezTo>
                    <a:pt x="172" y="154"/>
                    <a:pt x="182" y="165"/>
                    <a:pt x="201" y="165"/>
                  </a:cubicBezTo>
                  <a:cubicBezTo>
                    <a:pt x="220" y="165"/>
                    <a:pt x="230" y="153"/>
                    <a:pt x="230" y="133"/>
                  </a:cubicBezTo>
                  <a:cubicBezTo>
                    <a:pt x="230" y="56"/>
                    <a:pt x="230" y="56"/>
                    <a:pt x="230" y="56"/>
                  </a:cubicBezTo>
                  <a:cubicBezTo>
                    <a:pt x="251" y="56"/>
                    <a:pt x="251" y="56"/>
                    <a:pt x="251" y="56"/>
                  </a:cubicBezTo>
                  <a:cubicBezTo>
                    <a:pt x="251" y="182"/>
                    <a:pt x="251" y="182"/>
                    <a:pt x="251" y="182"/>
                  </a:cubicBezTo>
                  <a:cubicBezTo>
                    <a:pt x="231" y="182"/>
                    <a:pt x="231" y="182"/>
                    <a:pt x="231" y="182"/>
                  </a:cubicBezTo>
                  <a:cubicBezTo>
                    <a:pt x="231" y="170"/>
                    <a:pt x="231" y="170"/>
                    <a:pt x="231" y="170"/>
                  </a:cubicBezTo>
                  <a:cubicBezTo>
                    <a:pt x="222" y="178"/>
                    <a:pt x="210" y="183"/>
                    <a:pt x="197" y="183"/>
                  </a:cubicBezTo>
                  <a:close/>
                  <a:moveTo>
                    <a:pt x="301" y="182"/>
                  </a:moveTo>
                  <a:cubicBezTo>
                    <a:pt x="281" y="182"/>
                    <a:pt x="281" y="182"/>
                    <a:pt x="281" y="182"/>
                  </a:cubicBezTo>
                  <a:cubicBezTo>
                    <a:pt x="281" y="115"/>
                    <a:pt x="281" y="115"/>
                    <a:pt x="281" y="115"/>
                  </a:cubicBezTo>
                  <a:cubicBezTo>
                    <a:pt x="281" y="56"/>
                    <a:pt x="281" y="56"/>
                    <a:pt x="281" y="56"/>
                  </a:cubicBezTo>
                  <a:cubicBezTo>
                    <a:pt x="301" y="56"/>
                    <a:pt x="301" y="56"/>
                    <a:pt x="301" y="56"/>
                  </a:cubicBezTo>
                  <a:cubicBezTo>
                    <a:pt x="301" y="114"/>
                    <a:pt x="301" y="114"/>
                    <a:pt x="301" y="114"/>
                  </a:cubicBezTo>
                  <a:lnTo>
                    <a:pt x="301" y="182"/>
                  </a:lnTo>
                  <a:close/>
                  <a:moveTo>
                    <a:pt x="303" y="24"/>
                  </a:moveTo>
                  <a:cubicBezTo>
                    <a:pt x="280" y="24"/>
                    <a:pt x="280" y="24"/>
                    <a:pt x="280" y="24"/>
                  </a:cubicBezTo>
                  <a:cubicBezTo>
                    <a:pt x="280" y="1"/>
                    <a:pt x="280" y="1"/>
                    <a:pt x="280" y="1"/>
                  </a:cubicBezTo>
                  <a:cubicBezTo>
                    <a:pt x="303" y="1"/>
                    <a:pt x="303" y="1"/>
                    <a:pt x="303" y="1"/>
                  </a:cubicBezTo>
                  <a:lnTo>
                    <a:pt x="303" y="24"/>
                  </a:lnTo>
                  <a:close/>
                  <a:moveTo>
                    <a:pt x="430" y="182"/>
                  </a:moveTo>
                  <a:cubicBezTo>
                    <a:pt x="410" y="182"/>
                    <a:pt x="410" y="182"/>
                    <a:pt x="410" y="182"/>
                  </a:cubicBezTo>
                  <a:cubicBezTo>
                    <a:pt x="410" y="105"/>
                    <a:pt x="410" y="105"/>
                    <a:pt x="410" y="105"/>
                  </a:cubicBezTo>
                  <a:cubicBezTo>
                    <a:pt x="410" y="85"/>
                    <a:pt x="399" y="73"/>
                    <a:pt x="381" y="73"/>
                  </a:cubicBezTo>
                  <a:cubicBezTo>
                    <a:pt x="362" y="73"/>
                    <a:pt x="352" y="85"/>
                    <a:pt x="352" y="105"/>
                  </a:cubicBezTo>
                  <a:cubicBezTo>
                    <a:pt x="352" y="182"/>
                    <a:pt x="352" y="182"/>
                    <a:pt x="352" y="182"/>
                  </a:cubicBezTo>
                  <a:cubicBezTo>
                    <a:pt x="331" y="182"/>
                    <a:pt x="331" y="182"/>
                    <a:pt x="331" y="182"/>
                  </a:cubicBezTo>
                  <a:cubicBezTo>
                    <a:pt x="331" y="56"/>
                    <a:pt x="331" y="56"/>
                    <a:pt x="331" y="56"/>
                  </a:cubicBezTo>
                  <a:cubicBezTo>
                    <a:pt x="352" y="56"/>
                    <a:pt x="352" y="56"/>
                    <a:pt x="352" y="56"/>
                  </a:cubicBezTo>
                  <a:cubicBezTo>
                    <a:pt x="352" y="68"/>
                    <a:pt x="352" y="68"/>
                    <a:pt x="352" y="68"/>
                  </a:cubicBezTo>
                  <a:cubicBezTo>
                    <a:pt x="360" y="59"/>
                    <a:pt x="372" y="55"/>
                    <a:pt x="385" y="55"/>
                  </a:cubicBezTo>
                  <a:cubicBezTo>
                    <a:pt x="398" y="55"/>
                    <a:pt x="409" y="59"/>
                    <a:pt x="417" y="67"/>
                  </a:cubicBezTo>
                  <a:cubicBezTo>
                    <a:pt x="426" y="75"/>
                    <a:pt x="430" y="87"/>
                    <a:pt x="430" y="102"/>
                  </a:cubicBezTo>
                  <a:lnTo>
                    <a:pt x="430" y="182"/>
                  </a:lnTo>
                  <a:close/>
                  <a:moveTo>
                    <a:pt x="550" y="182"/>
                  </a:moveTo>
                  <a:cubicBezTo>
                    <a:pt x="529" y="182"/>
                    <a:pt x="529" y="182"/>
                    <a:pt x="529" y="182"/>
                  </a:cubicBezTo>
                  <a:cubicBezTo>
                    <a:pt x="529" y="113"/>
                    <a:pt x="529" y="113"/>
                    <a:pt x="529" y="113"/>
                  </a:cubicBezTo>
                  <a:cubicBezTo>
                    <a:pt x="529" y="56"/>
                    <a:pt x="529" y="56"/>
                    <a:pt x="529" y="56"/>
                  </a:cubicBezTo>
                  <a:cubicBezTo>
                    <a:pt x="550" y="56"/>
                    <a:pt x="550" y="56"/>
                    <a:pt x="550" y="56"/>
                  </a:cubicBezTo>
                  <a:cubicBezTo>
                    <a:pt x="550" y="113"/>
                    <a:pt x="550" y="113"/>
                    <a:pt x="550" y="113"/>
                  </a:cubicBezTo>
                  <a:lnTo>
                    <a:pt x="550" y="182"/>
                  </a:lnTo>
                  <a:close/>
                  <a:moveTo>
                    <a:pt x="551" y="24"/>
                  </a:moveTo>
                  <a:cubicBezTo>
                    <a:pt x="528" y="24"/>
                    <a:pt x="528" y="24"/>
                    <a:pt x="528" y="24"/>
                  </a:cubicBezTo>
                  <a:cubicBezTo>
                    <a:pt x="528" y="1"/>
                    <a:pt x="528" y="1"/>
                    <a:pt x="528" y="1"/>
                  </a:cubicBezTo>
                  <a:cubicBezTo>
                    <a:pt x="551" y="1"/>
                    <a:pt x="551" y="1"/>
                    <a:pt x="551" y="1"/>
                  </a:cubicBezTo>
                  <a:lnTo>
                    <a:pt x="551" y="24"/>
                  </a:lnTo>
                  <a:close/>
                  <a:moveTo>
                    <a:pt x="686" y="183"/>
                  </a:moveTo>
                  <a:cubicBezTo>
                    <a:pt x="651" y="183"/>
                    <a:pt x="631" y="160"/>
                    <a:pt x="631" y="119"/>
                  </a:cubicBezTo>
                  <a:cubicBezTo>
                    <a:pt x="631" y="79"/>
                    <a:pt x="651" y="55"/>
                    <a:pt x="683" y="55"/>
                  </a:cubicBezTo>
                  <a:cubicBezTo>
                    <a:pt x="715" y="55"/>
                    <a:pt x="735" y="78"/>
                    <a:pt x="735" y="116"/>
                  </a:cubicBezTo>
                  <a:cubicBezTo>
                    <a:pt x="735" y="125"/>
                    <a:pt x="735" y="125"/>
                    <a:pt x="735" y="125"/>
                  </a:cubicBezTo>
                  <a:cubicBezTo>
                    <a:pt x="652" y="125"/>
                    <a:pt x="652" y="125"/>
                    <a:pt x="652" y="125"/>
                  </a:cubicBezTo>
                  <a:cubicBezTo>
                    <a:pt x="652" y="151"/>
                    <a:pt x="664" y="165"/>
                    <a:pt x="687" y="165"/>
                  </a:cubicBezTo>
                  <a:cubicBezTo>
                    <a:pt x="700" y="165"/>
                    <a:pt x="708" y="161"/>
                    <a:pt x="718" y="151"/>
                  </a:cubicBezTo>
                  <a:cubicBezTo>
                    <a:pt x="719" y="150"/>
                    <a:pt x="719" y="150"/>
                    <a:pt x="719" y="150"/>
                  </a:cubicBezTo>
                  <a:cubicBezTo>
                    <a:pt x="733" y="163"/>
                    <a:pt x="733" y="163"/>
                    <a:pt x="733" y="163"/>
                  </a:cubicBezTo>
                  <a:cubicBezTo>
                    <a:pt x="732" y="164"/>
                    <a:pt x="732" y="164"/>
                    <a:pt x="732" y="164"/>
                  </a:cubicBezTo>
                  <a:cubicBezTo>
                    <a:pt x="720" y="176"/>
                    <a:pt x="708" y="183"/>
                    <a:pt x="686" y="183"/>
                  </a:cubicBezTo>
                  <a:close/>
                  <a:moveTo>
                    <a:pt x="652" y="109"/>
                  </a:moveTo>
                  <a:cubicBezTo>
                    <a:pt x="714" y="109"/>
                    <a:pt x="714" y="109"/>
                    <a:pt x="714" y="109"/>
                  </a:cubicBezTo>
                  <a:cubicBezTo>
                    <a:pt x="713" y="100"/>
                    <a:pt x="713" y="96"/>
                    <a:pt x="710" y="90"/>
                  </a:cubicBezTo>
                  <a:cubicBezTo>
                    <a:pt x="705" y="79"/>
                    <a:pt x="695" y="73"/>
                    <a:pt x="683" y="73"/>
                  </a:cubicBezTo>
                  <a:cubicBezTo>
                    <a:pt x="671" y="73"/>
                    <a:pt x="661" y="79"/>
                    <a:pt x="655" y="90"/>
                  </a:cubicBezTo>
                  <a:cubicBezTo>
                    <a:pt x="653" y="96"/>
                    <a:pt x="652" y="100"/>
                    <a:pt x="652" y="109"/>
                  </a:cubicBezTo>
                  <a:close/>
                  <a:moveTo>
                    <a:pt x="798" y="183"/>
                  </a:moveTo>
                  <a:cubicBezTo>
                    <a:pt x="775" y="183"/>
                    <a:pt x="759" y="178"/>
                    <a:pt x="746" y="165"/>
                  </a:cubicBezTo>
                  <a:cubicBezTo>
                    <a:pt x="745" y="164"/>
                    <a:pt x="745" y="164"/>
                    <a:pt x="745" y="164"/>
                  </a:cubicBezTo>
                  <a:cubicBezTo>
                    <a:pt x="759" y="150"/>
                    <a:pt x="759" y="150"/>
                    <a:pt x="759" y="150"/>
                  </a:cubicBezTo>
                  <a:cubicBezTo>
                    <a:pt x="760" y="151"/>
                    <a:pt x="760" y="151"/>
                    <a:pt x="760" y="151"/>
                  </a:cubicBezTo>
                  <a:cubicBezTo>
                    <a:pt x="769" y="161"/>
                    <a:pt x="781" y="165"/>
                    <a:pt x="797" y="165"/>
                  </a:cubicBezTo>
                  <a:cubicBezTo>
                    <a:pt x="809" y="165"/>
                    <a:pt x="829" y="163"/>
                    <a:pt x="829" y="145"/>
                  </a:cubicBezTo>
                  <a:cubicBezTo>
                    <a:pt x="829" y="134"/>
                    <a:pt x="823" y="129"/>
                    <a:pt x="809" y="128"/>
                  </a:cubicBezTo>
                  <a:cubicBezTo>
                    <a:pt x="789" y="126"/>
                    <a:pt x="789" y="126"/>
                    <a:pt x="789" y="126"/>
                  </a:cubicBezTo>
                  <a:cubicBezTo>
                    <a:pt x="764" y="124"/>
                    <a:pt x="751" y="113"/>
                    <a:pt x="751" y="92"/>
                  </a:cubicBezTo>
                  <a:cubicBezTo>
                    <a:pt x="751" y="70"/>
                    <a:pt x="770" y="55"/>
                    <a:pt x="798" y="55"/>
                  </a:cubicBezTo>
                  <a:cubicBezTo>
                    <a:pt x="816" y="55"/>
                    <a:pt x="832" y="59"/>
                    <a:pt x="843" y="68"/>
                  </a:cubicBezTo>
                  <a:cubicBezTo>
                    <a:pt x="844" y="69"/>
                    <a:pt x="844" y="69"/>
                    <a:pt x="844" y="69"/>
                  </a:cubicBezTo>
                  <a:cubicBezTo>
                    <a:pt x="830" y="83"/>
                    <a:pt x="830" y="83"/>
                    <a:pt x="830" y="83"/>
                  </a:cubicBezTo>
                  <a:cubicBezTo>
                    <a:pt x="829" y="82"/>
                    <a:pt x="829" y="82"/>
                    <a:pt x="829" y="82"/>
                  </a:cubicBezTo>
                  <a:cubicBezTo>
                    <a:pt x="821" y="76"/>
                    <a:pt x="811" y="73"/>
                    <a:pt x="798" y="73"/>
                  </a:cubicBezTo>
                  <a:cubicBezTo>
                    <a:pt x="781" y="73"/>
                    <a:pt x="771" y="79"/>
                    <a:pt x="771" y="92"/>
                  </a:cubicBezTo>
                  <a:cubicBezTo>
                    <a:pt x="771" y="102"/>
                    <a:pt x="778" y="107"/>
                    <a:pt x="792" y="108"/>
                  </a:cubicBezTo>
                  <a:cubicBezTo>
                    <a:pt x="811" y="110"/>
                    <a:pt x="811" y="110"/>
                    <a:pt x="811" y="110"/>
                  </a:cubicBezTo>
                  <a:cubicBezTo>
                    <a:pt x="827" y="112"/>
                    <a:pt x="849" y="117"/>
                    <a:pt x="849" y="144"/>
                  </a:cubicBezTo>
                  <a:cubicBezTo>
                    <a:pt x="849" y="168"/>
                    <a:pt x="829" y="183"/>
                    <a:pt x="798" y="183"/>
                  </a:cubicBezTo>
                  <a:close/>
                  <a:moveTo>
                    <a:pt x="894" y="182"/>
                  </a:moveTo>
                  <a:cubicBezTo>
                    <a:pt x="872" y="182"/>
                    <a:pt x="872" y="182"/>
                    <a:pt x="872" y="182"/>
                  </a:cubicBezTo>
                  <a:cubicBezTo>
                    <a:pt x="872" y="100"/>
                    <a:pt x="872" y="100"/>
                    <a:pt x="872" y="100"/>
                  </a:cubicBezTo>
                  <a:cubicBezTo>
                    <a:pt x="872" y="2"/>
                    <a:pt x="872" y="2"/>
                    <a:pt x="872" y="2"/>
                  </a:cubicBezTo>
                  <a:cubicBezTo>
                    <a:pt x="894" y="2"/>
                    <a:pt x="894" y="2"/>
                    <a:pt x="894" y="2"/>
                  </a:cubicBezTo>
                  <a:cubicBezTo>
                    <a:pt x="894" y="100"/>
                    <a:pt x="894" y="100"/>
                    <a:pt x="894" y="100"/>
                  </a:cubicBezTo>
                  <a:lnTo>
                    <a:pt x="894" y="182"/>
                  </a:lnTo>
                  <a:close/>
                  <a:moveTo>
                    <a:pt x="1085" y="182"/>
                  </a:moveTo>
                  <a:cubicBezTo>
                    <a:pt x="1063" y="182"/>
                    <a:pt x="1063" y="182"/>
                    <a:pt x="1063" y="182"/>
                  </a:cubicBezTo>
                  <a:cubicBezTo>
                    <a:pt x="1063" y="51"/>
                    <a:pt x="1063" y="51"/>
                    <a:pt x="1063" y="51"/>
                  </a:cubicBezTo>
                  <a:cubicBezTo>
                    <a:pt x="1017" y="154"/>
                    <a:pt x="1017" y="154"/>
                    <a:pt x="1017" y="154"/>
                  </a:cubicBezTo>
                  <a:cubicBezTo>
                    <a:pt x="999" y="154"/>
                    <a:pt x="999" y="154"/>
                    <a:pt x="999" y="154"/>
                  </a:cubicBezTo>
                  <a:cubicBezTo>
                    <a:pt x="952" y="51"/>
                    <a:pt x="952" y="51"/>
                    <a:pt x="952" y="51"/>
                  </a:cubicBezTo>
                  <a:cubicBezTo>
                    <a:pt x="952" y="182"/>
                    <a:pt x="952" y="182"/>
                    <a:pt x="952" y="182"/>
                  </a:cubicBezTo>
                  <a:cubicBezTo>
                    <a:pt x="930" y="182"/>
                    <a:pt x="930" y="182"/>
                    <a:pt x="930" y="182"/>
                  </a:cubicBezTo>
                  <a:cubicBezTo>
                    <a:pt x="930" y="2"/>
                    <a:pt x="930" y="2"/>
                    <a:pt x="930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1008" y="126"/>
                    <a:pt x="1008" y="126"/>
                    <a:pt x="1008" y="126"/>
                  </a:cubicBezTo>
                  <a:cubicBezTo>
                    <a:pt x="1064" y="2"/>
                    <a:pt x="1064" y="2"/>
                    <a:pt x="1064" y="2"/>
                  </a:cubicBezTo>
                  <a:cubicBezTo>
                    <a:pt x="1085" y="2"/>
                    <a:pt x="1085" y="2"/>
                    <a:pt x="1085" y="2"/>
                  </a:cubicBezTo>
                  <a:lnTo>
                    <a:pt x="1085" y="182"/>
                  </a:lnTo>
                  <a:close/>
                  <a:moveTo>
                    <a:pt x="1168" y="183"/>
                  </a:moveTo>
                  <a:cubicBezTo>
                    <a:pt x="1141" y="183"/>
                    <a:pt x="1123" y="176"/>
                    <a:pt x="1106" y="159"/>
                  </a:cubicBezTo>
                  <a:cubicBezTo>
                    <a:pt x="1106" y="158"/>
                    <a:pt x="1106" y="158"/>
                    <a:pt x="1106" y="158"/>
                  </a:cubicBezTo>
                  <a:cubicBezTo>
                    <a:pt x="1120" y="144"/>
                    <a:pt x="1120" y="144"/>
                    <a:pt x="1120" y="144"/>
                  </a:cubicBezTo>
                  <a:cubicBezTo>
                    <a:pt x="1121" y="145"/>
                    <a:pt x="1121" y="145"/>
                    <a:pt x="1121" y="145"/>
                  </a:cubicBezTo>
                  <a:cubicBezTo>
                    <a:pt x="1135" y="159"/>
                    <a:pt x="1148" y="164"/>
                    <a:pt x="1168" y="164"/>
                  </a:cubicBezTo>
                  <a:cubicBezTo>
                    <a:pt x="1194" y="164"/>
                    <a:pt x="1209" y="152"/>
                    <a:pt x="1209" y="132"/>
                  </a:cubicBezTo>
                  <a:cubicBezTo>
                    <a:pt x="1209" y="123"/>
                    <a:pt x="1207" y="116"/>
                    <a:pt x="1201" y="111"/>
                  </a:cubicBezTo>
                  <a:cubicBezTo>
                    <a:pt x="1196" y="106"/>
                    <a:pt x="1191" y="104"/>
                    <a:pt x="1179" y="102"/>
                  </a:cubicBezTo>
                  <a:cubicBezTo>
                    <a:pt x="1158" y="99"/>
                    <a:pt x="1158" y="99"/>
                    <a:pt x="1158" y="99"/>
                  </a:cubicBezTo>
                  <a:cubicBezTo>
                    <a:pt x="1143" y="97"/>
                    <a:pt x="1133" y="93"/>
                    <a:pt x="1125" y="86"/>
                  </a:cubicBezTo>
                  <a:cubicBezTo>
                    <a:pt x="1115" y="77"/>
                    <a:pt x="1111" y="66"/>
                    <a:pt x="1111" y="51"/>
                  </a:cubicBezTo>
                  <a:cubicBezTo>
                    <a:pt x="1111" y="20"/>
                    <a:pt x="1133" y="0"/>
                    <a:pt x="1169" y="0"/>
                  </a:cubicBezTo>
                  <a:cubicBezTo>
                    <a:pt x="1191" y="0"/>
                    <a:pt x="1207" y="6"/>
                    <a:pt x="1222" y="20"/>
                  </a:cubicBezTo>
                  <a:cubicBezTo>
                    <a:pt x="1223" y="21"/>
                    <a:pt x="1223" y="21"/>
                    <a:pt x="1223" y="21"/>
                  </a:cubicBezTo>
                  <a:cubicBezTo>
                    <a:pt x="1209" y="35"/>
                    <a:pt x="1209" y="35"/>
                    <a:pt x="1209" y="35"/>
                  </a:cubicBezTo>
                  <a:cubicBezTo>
                    <a:pt x="1208" y="34"/>
                    <a:pt x="1208" y="34"/>
                    <a:pt x="1208" y="34"/>
                  </a:cubicBezTo>
                  <a:cubicBezTo>
                    <a:pt x="1197" y="23"/>
                    <a:pt x="1185" y="19"/>
                    <a:pt x="1168" y="19"/>
                  </a:cubicBezTo>
                  <a:cubicBezTo>
                    <a:pt x="1146" y="19"/>
                    <a:pt x="1132" y="31"/>
                    <a:pt x="1132" y="51"/>
                  </a:cubicBezTo>
                  <a:cubicBezTo>
                    <a:pt x="1132" y="59"/>
                    <a:pt x="1134" y="66"/>
                    <a:pt x="1139" y="70"/>
                  </a:cubicBezTo>
                  <a:cubicBezTo>
                    <a:pt x="1144" y="75"/>
                    <a:pt x="1152" y="78"/>
                    <a:pt x="1162" y="79"/>
                  </a:cubicBezTo>
                  <a:cubicBezTo>
                    <a:pt x="1182" y="83"/>
                    <a:pt x="1182" y="83"/>
                    <a:pt x="1182" y="83"/>
                  </a:cubicBezTo>
                  <a:cubicBezTo>
                    <a:pt x="1199" y="85"/>
                    <a:pt x="1207" y="88"/>
                    <a:pt x="1215" y="96"/>
                  </a:cubicBezTo>
                  <a:cubicBezTo>
                    <a:pt x="1225" y="104"/>
                    <a:pt x="1231" y="117"/>
                    <a:pt x="1231" y="132"/>
                  </a:cubicBezTo>
                  <a:cubicBezTo>
                    <a:pt x="1231" y="163"/>
                    <a:pt x="1206" y="183"/>
                    <a:pt x="1168" y="183"/>
                  </a:cubicBezTo>
                  <a:close/>
                  <a:moveTo>
                    <a:pt x="499" y="182"/>
                  </a:moveTo>
                  <a:cubicBezTo>
                    <a:pt x="495" y="182"/>
                    <a:pt x="495" y="182"/>
                    <a:pt x="495" y="182"/>
                  </a:cubicBezTo>
                  <a:cubicBezTo>
                    <a:pt x="475" y="182"/>
                    <a:pt x="462" y="168"/>
                    <a:pt x="462" y="147"/>
                  </a:cubicBezTo>
                  <a:cubicBezTo>
                    <a:pt x="462" y="73"/>
                    <a:pt x="462" y="73"/>
                    <a:pt x="462" y="73"/>
                  </a:cubicBezTo>
                  <a:cubicBezTo>
                    <a:pt x="446" y="73"/>
                    <a:pt x="446" y="73"/>
                    <a:pt x="446" y="73"/>
                  </a:cubicBezTo>
                  <a:cubicBezTo>
                    <a:pt x="446" y="56"/>
                    <a:pt x="446" y="56"/>
                    <a:pt x="446" y="56"/>
                  </a:cubicBezTo>
                  <a:cubicBezTo>
                    <a:pt x="462" y="56"/>
                    <a:pt x="462" y="56"/>
                    <a:pt x="462" y="56"/>
                  </a:cubicBezTo>
                  <a:cubicBezTo>
                    <a:pt x="462" y="19"/>
                    <a:pt x="462" y="19"/>
                    <a:pt x="462" y="19"/>
                  </a:cubicBezTo>
                  <a:cubicBezTo>
                    <a:pt x="482" y="19"/>
                    <a:pt x="482" y="19"/>
                    <a:pt x="482" y="19"/>
                  </a:cubicBezTo>
                  <a:cubicBezTo>
                    <a:pt x="482" y="56"/>
                    <a:pt x="482" y="56"/>
                    <a:pt x="482" y="56"/>
                  </a:cubicBezTo>
                  <a:cubicBezTo>
                    <a:pt x="509" y="56"/>
                    <a:pt x="509" y="56"/>
                    <a:pt x="509" y="56"/>
                  </a:cubicBezTo>
                  <a:cubicBezTo>
                    <a:pt x="509" y="73"/>
                    <a:pt x="509" y="73"/>
                    <a:pt x="509" y="73"/>
                  </a:cubicBezTo>
                  <a:cubicBezTo>
                    <a:pt x="482" y="73"/>
                    <a:pt x="482" y="73"/>
                    <a:pt x="482" y="73"/>
                  </a:cubicBezTo>
                  <a:cubicBezTo>
                    <a:pt x="482" y="147"/>
                    <a:pt x="482" y="147"/>
                    <a:pt x="482" y="147"/>
                  </a:cubicBezTo>
                  <a:cubicBezTo>
                    <a:pt x="482" y="158"/>
                    <a:pt x="488" y="164"/>
                    <a:pt x="498" y="164"/>
                  </a:cubicBezTo>
                  <a:cubicBezTo>
                    <a:pt x="499" y="164"/>
                    <a:pt x="499" y="164"/>
                    <a:pt x="499" y="164"/>
                  </a:cubicBezTo>
                  <a:cubicBezTo>
                    <a:pt x="499" y="165"/>
                    <a:pt x="499" y="165"/>
                    <a:pt x="499" y="165"/>
                  </a:cubicBezTo>
                  <a:lnTo>
                    <a:pt x="499" y="182"/>
                  </a:lnTo>
                  <a:close/>
                  <a:moveTo>
                    <a:pt x="616" y="182"/>
                  </a:moveTo>
                  <a:cubicBezTo>
                    <a:pt x="612" y="182"/>
                    <a:pt x="612" y="182"/>
                    <a:pt x="612" y="182"/>
                  </a:cubicBezTo>
                  <a:cubicBezTo>
                    <a:pt x="591" y="182"/>
                    <a:pt x="579" y="169"/>
                    <a:pt x="579" y="148"/>
                  </a:cubicBezTo>
                  <a:cubicBezTo>
                    <a:pt x="579" y="2"/>
                    <a:pt x="579" y="2"/>
                    <a:pt x="579" y="2"/>
                  </a:cubicBezTo>
                  <a:cubicBezTo>
                    <a:pt x="600" y="2"/>
                    <a:pt x="600" y="2"/>
                    <a:pt x="600" y="2"/>
                  </a:cubicBezTo>
                  <a:cubicBezTo>
                    <a:pt x="600" y="147"/>
                    <a:pt x="600" y="147"/>
                    <a:pt x="600" y="147"/>
                  </a:cubicBezTo>
                  <a:cubicBezTo>
                    <a:pt x="600" y="159"/>
                    <a:pt x="604" y="164"/>
                    <a:pt x="615" y="164"/>
                  </a:cubicBezTo>
                  <a:cubicBezTo>
                    <a:pt x="616" y="164"/>
                    <a:pt x="616" y="164"/>
                    <a:pt x="616" y="164"/>
                  </a:cubicBezTo>
                  <a:cubicBezTo>
                    <a:pt x="616" y="165"/>
                    <a:pt x="616" y="165"/>
                    <a:pt x="616" y="165"/>
                  </a:cubicBezTo>
                  <a:lnTo>
                    <a:pt x="616" y="182"/>
                  </a:lnTo>
                  <a:close/>
                </a:path>
              </a:pathLst>
            </a:custGeom>
            <a:solidFill>
              <a:srgbClr val="7778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9"/>
            <p:cNvSpPr>
              <a:spLocks noEditPoints="1"/>
            </p:cNvSpPr>
            <p:nvPr userDrawn="1"/>
          </p:nvSpPr>
          <p:spPr bwMode="gray">
            <a:xfrm>
              <a:off x="7474095" y="5549900"/>
              <a:ext cx="76200" cy="41275"/>
            </a:xfrm>
            <a:custGeom>
              <a:avLst/>
              <a:gdLst>
                <a:gd name="T0" fmla="*/ 12 w 48"/>
                <a:gd name="T1" fmla="*/ 4 h 26"/>
                <a:gd name="T2" fmla="*/ 12 w 48"/>
                <a:gd name="T3" fmla="*/ 26 h 26"/>
                <a:gd name="T4" fmla="*/ 7 w 48"/>
                <a:gd name="T5" fmla="*/ 26 h 26"/>
                <a:gd name="T6" fmla="*/ 7 w 48"/>
                <a:gd name="T7" fmla="*/ 4 h 26"/>
                <a:gd name="T8" fmla="*/ 0 w 48"/>
                <a:gd name="T9" fmla="*/ 4 h 26"/>
                <a:gd name="T10" fmla="*/ 0 w 48"/>
                <a:gd name="T11" fmla="*/ 0 h 26"/>
                <a:gd name="T12" fmla="*/ 18 w 48"/>
                <a:gd name="T13" fmla="*/ 0 h 26"/>
                <a:gd name="T14" fmla="*/ 18 w 48"/>
                <a:gd name="T15" fmla="*/ 4 h 26"/>
                <a:gd name="T16" fmla="*/ 12 w 48"/>
                <a:gd name="T17" fmla="*/ 4 h 26"/>
                <a:gd name="T18" fmla="*/ 43 w 48"/>
                <a:gd name="T19" fmla="*/ 26 h 26"/>
                <a:gd name="T20" fmla="*/ 43 w 48"/>
                <a:gd name="T21" fmla="*/ 9 h 26"/>
                <a:gd name="T22" fmla="*/ 37 w 48"/>
                <a:gd name="T23" fmla="*/ 20 h 26"/>
                <a:gd name="T24" fmla="*/ 33 w 48"/>
                <a:gd name="T25" fmla="*/ 20 h 26"/>
                <a:gd name="T26" fmla="*/ 27 w 48"/>
                <a:gd name="T27" fmla="*/ 9 h 26"/>
                <a:gd name="T28" fmla="*/ 27 w 48"/>
                <a:gd name="T29" fmla="*/ 26 h 26"/>
                <a:gd name="T30" fmla="*/ 23 w 48"/>
                <a:gd name="T31" fmla="*/ 26 h 26"/>
                <a:gd name="T32" fmla="*/ 23 w 48"/>
                <a:gd name="T33" fmla="*/ 0 h 26"/>
                <a:gd name="T34" fmla="*/ 27 w 48"/>
                <a:gd name="T35" fmla="*/ 0 h 26"/>
                <a:gd name="T36" fmla="*/ 35 w 48"/>
                <a:gd name="T37" fmla="*/ 15 h 26"/>
                <a:gd name="T38" fmla="*/ 43 w 48"/>
                <a:gd name="T39" fmla="*/ 0 h 26"/>
                <a:gd name="T40" fmla="*/ 48 w 48"/>
                <a:gd name="T41" fmla="*/ 0 h 26"/>
                <a:gd name="T42" fmla="*/ 48 w 48"/>
                <a:gd name="T43" fmla="*/ 26 h 26"/>
                <a:gd name="T44" fmla="*/ 43 w 48"/>
                <a:gd name="T4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8" h="26">
                  <a:moveTo>
                    <a:pt x="12" y="4"/>
                  </a:moveTo>
                  <a:lnTo>
                    <a:pt x="12" y="26"/>
                  </a:lnTo>
                  <a:lnTo>
                    <a:pt x="7" y="26"/>
                  </a:lnTo>
                  <a:lnTo>
                    <a:pt x="7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4"/>
                  </a:lnTo>
                  <a:lnTo>
                    <a:pt x="12" y="4"/>
                  </a:lnTo>
                  <a:close/>
                  <a:moveTo>
                    <a:pt x="43" y="26"/>
                  </a:moveTo>
                  <a:lnTo>
                    <a:pt x="43" y="9"/>
                  </a:lnTo>
                  <a:lnTo>
                    <a:pt x="37" y="20"/>
                  </a:lnTo>
                  <a:lnTo>
                    <a:pt x="33" y="20"/>
                  </a:lnTo>
                  <a:lnTo>
                    <a:pt x="27" y="9"/>
                  </a:lnTo>
                  <a:lnTo>
                    <a:pt x="27" y="26"/>
                  </a:lnTo>
                  <a:lnTo>
                    <a:pt x="23" y="26"/>
                  </a:lnTo>
                  <a:lnTo>
                    <a:pt x="23" y="0"/>
                  </a:lnTo>
                  <a:lnTo>
                    <a:pt x="27" y="0"/>
                  </a:lnTo>
                  <a:lnTo>
                    <a:pt x="35" y="15"/>
                  </a:lnTo>
                  <a:lnTo>
                    <a:pt x="43" y="0"/>
                  </a:lnTo>
                  <a:lnTo>
                    <a:pt x="48" y="0"/>
                  </a:lnTo>
                  <a:lnTo>
                    <a:pt x="48" y="26"/>
                  </a:lnTo>
                  <a:lnTo>
                    <a:pt x="43" y="26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7"/>
            <p:cNvSpPr>
              <a:spLocks noEditPoints="1"/>
            </p:cNvSpPr>
            <p:nvPr userDrawn="1"/>
          </p:nvSpPr>
          <p:spPr bwMode="gray">
            <a:xfrm>
              <a:off x="4813445" y="5438775"/>
              <a:ext cx="549275" cy="493712"/>
            </a:xfrm>
            <a:custGeom>
              <a:avLst/>
              <a:gdLst>
                <a:gd name="T0" fmla="*/ 351 w 351"/>
                <a:gd name="T1" fmla="*/ 69 h 314"/>
                <a:gd name="T2" fmla="*/ 319 w 351"/>
                <a:gd name="T3" fmla="*/ 87 h 314"/>
                <a:gd name="T4" fmla="*/ 264 w 351"/>
                <a:gd name="T5" fmla="*/ 32 h 314"/>
                <a:gd name="T6" fmla="*/ 283 w 351"/>
                <a:gd name="T7" fmla="*/ 0 h 314"/>
                <a:gd name="T8" fmla="*/ 351 w 351"/>
                <a:gd name="T9" fmla="*/ 69 h 314"/>
                <a:gd name="T10" fmla="*/ 37 w 351"/>
                <a:gd name="T11" fmla="*/ 163 h 314"/>
                <a:gd name="T12" fmla="*/ 0 w 351"/>
                <a:gd name="T13" fmla="*/ 163 h 314"/>
                <a:gd name="T14" fmla="*/ 25 w 351"/>
                <a:gd name="T15" fmla="*/ 257 h 314"/>
                <a:gd name="T16" fmla="*/ 57 w 351"/>
                <a:gd name="T17" fmla="*/ 239 h 314"/>
                <a:gd name="T18" fmla="*/ 37 w 351"/>
                <a:gd name="T19" fmla="*/ 163 h 314"/>
                <a:gd name="T20" fmla="*/ 130 w 351"/>
                <a:gd name="T21" fmla="*/ 63 h 314"/>
                <a:gd name="T22" fmla="*/ 112 w 351"/>
                <a:gd name="T23" fmla="*/ 31 h 314"/>
                <a:gd name="T24" fmla="*/ 37 w 351"/>
                <a:gd name="T25" fmla="*/ 163 h 314"/>
                <a:gd name="T26" fmla="*/ 72 w 351"/>
                <a:gd name="T27" fmla="*/ 163 h 314"/>
                <a:gd name="T28" fmla="*/ 130 w 351"/>
                <a:gd name="T29" fmla="*/ 63 h 314"/>
                <a:gd name="T30" fmla="*/ 88 w 351"/>
                <a:gd name="T31" fmla="*/ 221 h 314"/>
                <a:gd name="T32" fmla="*/ 57 w 351"/>
                <a:gd name="T33" fmla="*/ 239 h 314"/>
                <a:gd name="T34" fmla="*/ 188 w 351"/>
                <a:gd name="T35" fmla="*/ 314 h 314"/>
                <a:gd name="T36" fmla="*/ 188 w 351"/>
                <a:gd name="T37" fmla="*/ 278 h 314"/>
                <a:gd name="T38" fmla="*/ 88 w 351"/>
                <a:gd name="T39" fmla="*/ 22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1" h="314">
                  <a:moveTo>
                    <a:pt x="351" y="69"/>
                  </a:moveTo>
                  <a:cubicBezTo>
                    <a:pt x="319" y="87"/>
                    <a:pt x="319" y="87"/>
                    <a:pt x="319" y="87"/>
                  </a:cubicBezTo>
                  <a:cubicBezTo>
                    <a:pt x="306" y="64"/>
                    <a:pt x="287" y="45"/>
                    <a:pt x="264" y="32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311" y="16"/>
                    <a:pt x="335" y="40"/>
                    <a:pt x="351" y="69"/>
                  </a:cubicBezTo>
                  <a:close/>
                  <a:moveTo>
                    <a:pt x="37" y="163"/>
                  </a:moveTo>
                  <a:cubicBezTo>
                    <a:pt x="0" y="163"/>
                    <a:pt x="0" y="163"/>
                    <a:pt x="0" y="163"/>
                  </a:cubicBezTo>
                  <a:cubicBezTo>
                    <a:pt x="0" y="197"/>
                    <a:pt x="9" y="230"/>
                    <a:pt x="25" y="257"/>
                  </a:cubicBezTo>
                  <a:cubicBezTo>
                    <a:pt x="57" y="239"/>
                    <a:pt x="57" y="239"/>
                    <a:pt x="57" y="239"/>
                  </a:cubicBezTo>
                  <a:cubicBezTo>
                    <a:pt x="44" y="216"/>
                    <a:pt x="37" y="190"/>
                    <a:pt x="37" y="163"/>
                  </a:cubicBezTo>
                  <a:close/>
                  <a:moveTo>
                    <a:pt x="130" y="63"/>
                  </a:moveTo>
                  <a:cubicBezTo>
                    <a:pt x="112" y="31"/>
                    <a:pt x="112" y="31"/>
                    <a:pt x="112" y="31"/>
                  </a:cubicBezTo>
                  <a:cubicBezTo>
                    <a:pt x="67" y="58"/>
                    <a:pt x="37" y="107"/>
                    <a:pt x="37" y="163"/>
                  </a:cubicBezTo>
                  <a:cubicBezTo>
                    <a:pt x="72" y="163"/>
                    <a:pt x="72" y="163"/>
                    <a:pt x="72" y="163"/>
                  </a:cubicBezTo>
                  <a:cubicBezTo>
                    <a:pt x="72" y="120"/>
                    <a:pt x="96" y="83"/>
                    <a:pt x="130" y="63"/>
                  </a:cubicBezTo>
                  <a:close/>
                  <a:moveTo>
                    <a:pt x="88" y="221"/>
                  </a:moveTo>
                  <a:cubicBezTo>
                    <a:pt x="57" y="239"/>
                    <a:pt x="57" y="239"/>
                    <a:pt x="57" y="239"/>
                  </a:cubicBezTo>
                  <a:cubicBezTo>
                    <a:pt x="83" y="284"/>
                    <a:pt x="132" y="314"/>
                    <a:pt x="188" y="314"/>
                  </a:cubicBezTo>
                  <a:cubicBezTo>
                    <a:pt x="188" y="278"/>
                    <a:pt x="188" y="278"/>
                    <a:pt x="188" y="278"/>
                  </a:cubicBezTo>
                  <a:cubicBezTo>
                    <a:pt x="145" y="278"/>
                    <a:pt x="108" y="255"/>
                    <a:pt x="88" y="221"/>
                  </a:cubicBezTo>
                  <a:close/>
                </a:path>
              </a:pathLst>
            </a:custGeom>
            <a:solidFill>
              <a:srgbClr val="ACDA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8"/>
            <p:cNvSpPr>
              <a:spLocks noEditPoints="1"/>
            </p:cNvSpPr>
            <p:nvPr userDrawn="1"/>
          </p:nvSpPr>
          <p:spPr bwMode="gray">
            <a:xfrm>
              <a:off x="4813445" y="5397500"/>
              <a:ext cx="442913" cy="593725"/>
            </a:xfrm>
            <a:custGeom>
              <a:avLst/>
              <a:gdLst>
                <a:gd name="T0" fmla="*/ 25 w 283"/>
                <a:gd name="T1" fmla="*/ 283 h 377"/>
                <a:gd name="T2" fmla="*/ 57 w 283"/>
                <a:gd name="T3" fmla="*/ 265 h 377"/>
                <a:gd name="T4" fmla="*/ 188 w 283"/>
                <a:gd name="T5" fmla="*/ 340 h 377"/>
                <a:gd name="T6" fmla="*/ 264 w 283"/>
                <a:gd name="T7" fmla="*/ 320 h 377"/>
                <a:gd name="T8" fmla="*/ 282 w 283"/>
                <a:gd name="T9" fmla="*/ 352 h 377"/>
                <a:gd name="T10" fmla="*/ 188 w 283"/>
                <a:gd name="T11" fmla="*/ 377 h 377"/>
                <a:gd name="T12" fmla="*/ 25 w 283"/>
                <a:gd name="T13" fmla="*/ 283 h 377"/>
                <a:gd name="T14" fmla="*/ 188 w 283"/>
                <a:gd name="T15" fmla="*/ 37 h 377"/>
                <a:gd name="T16" fmla="*/ 264 w 283"/>
                <a:gd name="T17" fmla="*/ 58 h 377"/>
                <a:gd name="T18" fmla="*/ 283 w 283"/>
                <a:gd name="T19" fmla="*/ 26 h 377"/>
                <a:gd name="T20" fmla="*/ 188 w 283"/>
                <a:gd name="T21" fmla="*/ 0 h 377"/>
                <a:gd name="T22" fmla="*/ 0 w 283"/>
                <a:gd name="T23" fmla="*/ 189 h 377"/>
                <a:gd name="T24" fmla="*/ 37 w 283"/>
                <a:gd name="T25" fmla="*/ 189 h 377"/>
                <a:gd name="T26" fmla="*/ 188 w 283"/>
                <a:gd name="T27" fmla="*/ 37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3" h="377">
                  <a:moveTo>
                    <a:pt x="25" y="283"/>
                  </a:moveTo>
                  <a:cubicBezTo>
                    <a:pt x="57" y="265"/>
                    <a:pt x="57" y="265"/>
                    <a:pt x="57" y="265"/>
                  </a:cubicBezTo>
                  <a:cubicBezTo>
                    <a:pt x="83" y="310"/>
                    <a:pt x="132" y="340"/>
                    <a:pt x="188" y="340"/>
                  </a:cubicBezTo>
                  <a:cubicBezTo>
                    <a:pt x="216" y="340"/>
                    <a:pt x="241" y="332"/>
                    <a:pt x="264" y="320"/>
                  </a:cubicBezTo>
                  <a:cubicBezTo>
                    <a:pt x="282" y="352"/>
                    <a:pt x="282" y="352"/>
                    <a:pt x="282" y="352"/>
                  </a:cubicBezTo>
                  <a:cubicBezTo>
                    <a:pt x="255" y="368"/>
                    <a:pt x="222" y="377"/>
                    <a:pt x="188" y="377"/>
                  </a:cubicBezTo>
                  <a:cubicBezTo>
                    <a:pt x="118" y="377"/>
                    <a:pt x="58" y="339"/>
                    <a:pt x="25" y="283"/>
                  </a:cubicBezTo>
                  <a:close/>
                  <a:moveTo>
                    <a:pt x="188" y="37"/>
                  </a:moveTo>
                  <a:cubicBezTo>
                    <a:pt x="216" y="37"/>
                    <a:pt x="242" y="45"/>
                    <a:pt x="264" y="58"/>
                  </a:cubicBezTo>
                  <a:cubicBezTo>
                    <a:pt x="283" y="26"/>
                    <a:pt x="283" y="26"/>
                    <a:pt x="283" y="26"/>
                  </a:cubicBezTo>
                  <a:cubicBezTo>
                    <a:pt x="255" y="10"/>
                    <a:pt x="222" y="0"/>
                    <a:pt x="188" y="0"/>
                  </a:cubicBezTo>
                  <a:cubicBezTo>
                    <a:pt x="84" y="0"/>
                    <a:pt x="0" y="85"/>
                    <a:pt x="0" y="189"/>
                  </a:cubicBezTo>
                  <a:cubicBezTo>
                    <a:pt x="37" y="189"/>
                    <a:pt x="37" y="189"/>
                    <a:pt x="37" y="189"/>
                  </a:cubicBezTo>
                  <a:cubicBezTo>
                    <a:pt x="37" y="105"/>
                    <a:pt x="104" y="37"/>
                    <a:pt x="188" y="37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9"/>
            <p:cNvSpPr>
              <a:spLocks noEditPoints="1"/>
            </p:cNvSpPr>
            <p:nvPr userDrawn="1"/>
          </p:nvSpPr>
          <p:spPr bwMode="gray">
            <a:xfrm>
              <a:off x="4926157" y="5511800"/>
              <a:ext cx="476250" cy="365125"/>
            </a:xfrm>
            <a:custGeom>
              <a:avLst/>
              <a:gdLst>
                <a:gd name="T0" fmla="*/ 247 w 304"/>
                <a:gd name="T1" fmla="*/ 40 h 231"/>
                <a:gd name="T2" fmla="*/ 279 w 304"/>
                <a:gd name="T3" fmla="*/ 22 h 231"/>
                <a:gd name="T4" fmla="*/ 304 w 304"/>
                <a:gd name="T5" fmla="*/ 116 h 231"/>
                <a:gd name="T6" fmla="*/ 279 w 304"/>
                <a:gd name="T7" fmla="*/ 210 h 231"/>
                <a:gd name="T8" fmla="*/ 247 w 304"/>
                <a:gd name="T9" fmla="*/ 191 h 231"/>
                <a:gd name="T10" fmla="*/ 267 w 304"/>
                <a:gd name="T11" fmla="*/ 116 h 231"/>
                <a:gd name="T12" fmla="*/ 247 w 304"/>
                <a:gd name="T13" fmla="*/ 40 h 231"/>
                <a:gd name="T14" fmla="*/ 223 w 304"/>
                <a:gd name="T15" fmla="*/ 222 h 231"/>
                <a:gd name="T16" fmla="*/ 198 w 304"/>
                <a:gd name="T17" fmla="*/ 197 h 231"/>
                <a:gd name="T18" fmla="*/ 116 w 304"/>
                <a:gd name="T19" fmla="*/ 231 h 231"/>
                <a:gd name="T20" fmla="*/ 0 w 304"/>
                <a:gd name="T21" fmla="*/ 116 h 231"/>
                <a:gd name="T22" fmla="*/ 116 w 304"/>
                <a:gd name="T23" fmla="*/ 0 h 231"/>
                <a:gd name="T24" fmla="*/ 231 w 304"/>
                <a:gd name="T25" fmla="*/ 116 h 231"/>
                <a:gd name="T26" fmla="*/ 216 w 304"/>
                <a:gd name="T27" fmla="*/ 173 h 231"/>
                <a:gd name="T28" fmla="*/ 247 w 304"/>
                <a:gd name="T29" fmla="*/ 191 h 231"/>
                <a:gd name="T30" fmla="*/ 223 w 304"/>
                <a:gd name="T31" fmla="*/ 222 h 231"/>
                <a:gd name="T32" fmla="*/ 195 w 304"/>
                <a:gd name="T33" fmla="*/ 116 h 231"/>
                <a:gd name="T34" fmla="*/ 116 w 304"/>
                <a:gd name="T35" fmla="*/ 37 h 231"/>
                <a:gd name="T36" fmla="*/ 37 w 304"/>
                <a:gd name="T37" fmla="*/ 116 h 231"/>
                <a:gd name="T38" fmla="*/ 116 w 304"/>
                <a:gd name="T39" fmla="*/ 194 h 231"/>
                <a:gd name="T40" fmla="*/ 195 w 304"/>
                <a:gd name="T41" fmla="*/ 116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4" h="231">
                  <a:moveTo>
                    <a:pt x="247" y="40"/>
                  </a:moveTo>
                  <a:cubicBezTo>
                    <a:pt x="279" y="22"/>
                    <a:pt x="279" y="22"/>
                    <a:pt x="279" y="22"/>
                  </a:cubicBezTo>
                  <a:cubicBezTo>
                    <a:pt x="295" y="49"/>
                    <a:pt x="304" y="81"/>
                    <a:pt x="304" y="116"/>
                  </a:cubicBezTo>
                  <a:cubicBezTo>
                    <a:pt x="304" y="150"/>
                    <a:pt x="295" y="182"/>
                    <a:pt x="279" y="210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60" y="169"/>
                    <a:pt x="267" y="143"/>
                    <a:pt x="267" y="116"/>
                  </a:cubicBezTo>
                  <a:cubicBezTo>
                    <a:pt x="267" y="88"/>
                    <a:pt x="260" y="62"/>
                    <a:pt x="247" y="40"/>
                  </a:cubicBezTo>
                  <a:close/>
                  <a:moveTo>
                    <a:pt x="223" y="222"/>
                  </a:moveTo>
                  <a:cubicBezTo>
                    <a:pt x="198" y="197"/>
                    <a:pt x="198" y="197"/>
                    <a:pt x="198" y="197"/>
                  </a:cubicBezTo>
                  <a:cubicBezTo>
                    <a:pt x="177" y="218"/>
                    <a:pt x="148" y="231"/>
                    <a:pt x="116" y="231"/>
                  </a:cubicBezTo>
                  <a:cubicBezTo>
                    <a:pt x="52" y="231"/>
                    <a:pt x="0" y="179"/>
                    <a:pt x="0" y="116"/>
                  </a:cubicBezTo>
                  <a:cubicBezTo>
                    <a:pt x="0" y="52"/>
                    <a:pt x="52" y="0"/>
                    <a:pt x="116" y="0"/>
                  </a:cubicBezTo>
                  <a:cubicBezTo>
                    <a:pt x="180" y="0"/>
                    <a:pt x="231" y="52"/>
                    <a:pt x="231" y="116"/>
                  </a:cubicBezTo>
                  <a:cubicBezTo>
                    <a:pt x="231" y="137"/>
                    <a:pt x="226" y="156"/>
                    <a:pt x="216" y="173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40" y="203"/>
                    <a:pt x="232" y="213"/>
                    <a:pt x="223" y="222"/>
                  </a:cubicBezTo>
                  <a:close/>
                  <a:moveTo>
                    <a:pt x="195" y="116"/>
                  </a:moveTo>
                  <a:cubicBezTo>
                    <a:pt x="195" y="72"/>
                    <a:pt x="159" y="37"/>
                    <a:pt x="116" y="37"/>
                  </a:cubicBezTo>
                  <a:cubicBezTo>
                    <a:pt x="72" y="37"/>
                    <a:pt x="37" y="72"/>
                    <a:pt x="37" y="116"/>
                  </a:cubicBezTo>
                  <a:cubicBezTo>
                    <a:pt x="37" y="159"/>
                    <a:pt x="72" y="194"/>
                    <a:pt x="116" y="194"/>
                  </a:cubicBezTo>
                  <a:cubicBezTo>
                    <a:pt x="159" y="194"/>
                    <a:pt x="195" y="159"/>
                    <a:pt x="195" y="116"/>
                  </a:cubicBezTo>
                  <a:close/>
                </a:path>
              </a:pathLst>
            </a:custGeom>
            <a:solidFill>
              <a:srgbClr val="743C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331799817"/>
      </p:ext>
    </p:extLst>
  </p:cSld>
  <p:clrMap bg1="lt1" tx1="dk1" bg2="lt2" tx2="dk2" accent1="accent1" accent2="accent2" accent3="accent3" accent4="accent4" accent5="accent5" accent6="accent6" hlink="hlink" folHlink="folHlink"/>
  <p:hf ftr="0"/>
  <p:notesStyle>
    <a:lvl1pPr marL="173038" marR="0" indent="-173038" algn="l" defTabSz="914400" rtl="0" eaLnBrk="1" fontAlgn="base" latinLnBrk="0" hangingPunct="1">
      <a:lnSpc>
        <a:spcPct val="100000"/>
      </a:lnSpc>
      <a:spcBef>
        <a:spcPts val="400"/>
      </a:spcBef>
      <a:spcAft>
        <a:spcPct val="0"/>
      </a:spcAft>
      <a:buClrTx/>
      <a:buSzTx/>
      <a:buFont typeface="Arial" pitchFamily="34" charset="0"/>
      <a:buChar char="•"/>
      <a:tabLst/>
      <a:defRPr sz="1400" b="0" kern="1200">
        <a:solidFill>
          <a:schemeClr val="tx2"/>
        </a:solidFill>
        <a:latin typeface="Arial"/>
        <a:ea typeface="+mn-ea"/>
        <a:cs typeface="Arial"/>
      </a:defRPr>
    </a:lvl1pPr>
    <a:lvl2pPr marL="346075" marR="0" indent="-173038" algn="l" defTabSz="914400" rtl="0" eaLnBrk="1" fontAlgn="base" latinLnBrk="0" hangingPunct="1">
      <a:lnSpc>
        <a:spcPct val="100000"/>
      </a:lnSpc>
      <a:spcBef>
        <a:spcPts val="400"/>
      </a:spcBef>
      <a:spcAft>
        <a:spcPct val="0"/>
      </a:spcAft>
      <a:buClrTx/>
      <a:buSzTx/>
      <a:buFont typeface="Arial" pitchFamily="34" charset="0"/>
      <a:buChar char="–"/>
      <a:tabLst/>
      <a:defRPr sz="1400" b="0" i="0" kern="1200">
        <a:solidFill>
          <a:schemeClr val="tx2"/>
        </a:solidFill>
        <a:latin typeface="Arial"/>
        <a:ea typeface="+mn-ea"/>
        <a:cs typeface="Arial"/>
      </a:defRPr>
    </a:lvl2pPr>
    <a:lvl3pPr marL="512763" marR="0" indent="-166688" algn="l" defTabSz="914400" rtl="0" eaLnBrk="1" fontAlgn="base" latinLnBrk="0" hangingPunct="1">
      <a:lnSpc>
        <a:spcPct val="100000"/>
      </a:lnSpc>
      <a:spcBef>
        <a:spcPts val="400"/>
      </a:spcBef>
      <a:spcAft>
        <a:spcPct val="0"/>
      </a:spcAft>
      <a:buClrTx/>
      <a:buSzTx/>
      <a:buFont typeface="Arial" pitchFamily="34" charset="0"/>
      <a:buChar char="–"/>
      <a:tabLst/>
      <a:defRPr sz="1400" b="0" i="0" kern="1200" baseline="0">
        <a:solidFill>
          <a:schemeClr val="tx2"/>
        </a:solidFill>
        <a:latin typeface="Arial"/>
        <a:ea typeface="+mn-ea"/>
        <a:cs typeface="Arial"/>
      </a:defRPr>
    </a:lvl3pPr>
    <a:lvl4pPr marL="685800" marR="0" indent="-173038" algn="l" defTabSz="914400" rtl="0" eaLnBrk="1" fontAlgn="base" latinLnBrk="0" hangingPunct="1">
      <a:lnSpc>
        <a:spcPct val="100000"/>
      </a:lnSpc>
      <a:spcBef>
        <a:spcPts val="400"/>
      </a:spcBef>
      <a:spcAft>
        <a:spcPct val="0"/>
      </a:spcAft>
      <a:buClrTx/>
      <a:buSzTx/>
      <a:buFont typeface="Arial" pitchFamily="34" charset="0"/>
      <a:buChar char="–"/>
      <a:tabLst/>
      <a:defRPr sz="1400" b="0" i="0" kern="1200">
        <a:solidFill>
          <a:schemeClr val="tx2"/>
        </a:solidFill>
        <a:latin typeface="Arial"/>
        <a:ea typeface="+mn-ea"/>
        <a:cs typeface="Arial"/>
      </a:defRPr>
    </a:lvl4pPr>
    <a:lvl5pPr marL="858838" marR="0" indent="-173038" algn="l" defTabSz="860425" rtl="0" eaLnBrk="1" fontAlgn="base" latinLnBrk="0" hangingPunct="1">
      <a:lnSpc>
        <a:spcPct val="100000"/>
      </a:lnSpc>
      <a:spcBef>
        <a:spcPts val="400"/>
      </a:spcBef>
      <a:spcAft>
        <a:spcPct val="0"/>
      </a:spcAft>
      <a:buClrTx/>
      <a:buSzTx/>
      <a:buFont typeface="Arial" pitchFamily="34" charset="0"/>
      <a:buChar char="–"/>
      <a:tabLst/>
      <a:defRPr sz="1400" b="0" i="0" kern="1200">
        <a:solidFill>
          <a:schemeClr val="tx2"/>
        </a:solidFill>
        <a:latin typeface="Arial"/>
        <a:ea typeface="+mn-ea"/>
        <a:cs typeface="Arial"/>
      </a:defRPr>
    </a:lvl5pPr>
    <a:lvl6pPr marL="1031875" indent="-173038" algn="l" defTabSz="860425" rtl="0" eaLnBrk="1" latinLnBrk="0" hangingPunct="1">
      <a:lnSpc>
        <a:spcPct val="100000"/>
      </a:lnSpc>
      <a:spcBef>
        <a:spcPts val="400"/>
      </a:spcBef>
      <a:buClrTx/>
      <a:buFont typeface="Arial" panose="020B0604020202020204" pitchFamily="34" charset="0"/>
      <a:buChar char="–"/>
      <a:tabLst/>
      <a:defRPr sz="1400" b="0" i="0" kern="1200">
        <a:solidFill>
          <a:schemeClr val="tx2"/>
        </a:solidFill>
        <a:latin typeface="Arial"/>
        <a:ea typeface="+mn-ea"/>
        <a:cs typeface="Arial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0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en-US" dirty="0" smtClean="0"/>
              <a:t>To change this title, go to Notes Master</a:t>
            </a:r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4ADCC9B8-B5E7-46CE-89D9-142105E65154}" type="datetime1">
              <a:rPr lang="en-US" smtClean="0"/>
              <a:t>9/17/2017</a:t>
            </a:fld>
            <a:endParaRPr lang="en-US" dirty="0"/>
          </a:p>
        </p:txBody>
      </p:sp>
      <p:sp>
        <p:nvSpPr>
          <p:cNvPr id="10" name="Slide Image Placeholder 9"/>
          <p:cNvSpPr>
            <a:spLocks noGrp="1" noRot="1" noChangeAspect="1"/>
          </p:cNvSpPr>
          <p:nvPr>
            <p:ph type="sldImg"/>
          </p:nvPr>
        </p:nvSpPr>
        <p:spPr>
          <a:xfrm>
            <a:off x="3841750" y="6577013"/>
            <a:ext cx="2711450" cy="2033587"/>
          </a:xfrm>
        </p:spPr>
      </p:sp>
      <p:sp>
        <p:nvSpPr>
          <p:cNvPr id="11" name="Notes Placeholder 10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804822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46500" y="6577013"/>
            <a:ext cx="2711450" cy="20335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81B4F642-74FC-4148-B731-47EF48BAE9FB}" type="datetime1">
              <a:rPr lang="en-US" smtClean="0"/>
              <a:t>9/17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054708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46500" y="6577013"/>
            <a:ext cx="2711450" cy="20335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81B4F642-74FC-4148-B731-47EF48BAE9FB}" type="datetime1">
              <a:rPr lang="en-US" smtClean="0"/>
              <a:t>9/17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491834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46500" y="6577013"/>
            <a:ext cx="2711450" cy="20335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81B4F642-74FC-4148-B731-47EF48BAE9FB}" type="datetime1">
              <a:rPr lang="en-US" smtClean="0"/>
              <a:t>9/17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924531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46500" y="6577013"/>
            <a:ext cx="2711450" cy="20335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81B4F642-74FC-4148-B731-47EF48BAE9FB}" type="datetime1">
              <a:rPr lang="en-US" smtClean="0"/>
              <a:t>9/17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556149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46500" y="6577013"/>
            <a:ext cx="2711450" cy="20335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81B4F642-74FC-4148-B731-47EF48BAE9FB}" type="datetime1">
              <a:rPr lang="en-US" smtClean="0"/>
              <a:t>9/17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28551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46500" y="6577013"/>
            <a:ext cx="2711450" cy="20335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81B4F642-74FC-4148-B731-47EF48BAE9FB}" type="datetime1">
              <a:rPr lang="en-US" smtClean="0"/>
              <a:t>9/17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96260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46500" y="6577013"/>
            <a:ext cx="2711450" cy="20335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81B4F642-74FC-4148-B731-47EF48BAE9FB}" type="datetime1">
              <a:rPr lang="en-US" smtClean="0"/>
              <a:t>9/17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78250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46500" y="6577013"/>
            <a:ext cx="2711450" cy="20335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81B4F642-74FC-4148-B731-47EF48BAE9FB}" type="datetime1">
              <a:rPr lang="en-US" smtClean="0"/>
              <a:t>9/17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56101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46500" y="6577013"/>
            <a:ext cx="2711450" cy="20335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81B4F642-74FC-4148-B731-47EF48BAE9FB}" type="datetime1">
              <a:rPr lang="en-US" smtClean="0"/>
              <a:t>9/17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42400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46500" y="6577013"/>
            <a:ext cx="2711450" cy="20335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81B4F642-74FC-4148-B731-47EF48BAE9FB}" type="datetime1">
              <a:rPr lang="en-US" smtClean="0"/>
              <a:t>9/17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38858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46500" y="6577013"/>
            <a:ext cx="2711450" cy="20335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81B4F642-74FC-4148-B731-47EF48BAE9FB}" type="datetime1">
              <a:rPr lang="en-US" smtClean="0"/>
              <a:t>9/17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28924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46500" y="6577013"/>
            <a:ext cx="2711450" cy="20335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81B4F642-74FC-4148-B731-47EF48BAE9FB}" type="datetime1">
              <a:rPr lang="en-US" smtClean="0"/>
              <a:t>9/17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35270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46500" y="6577013"/>
            <a:ext cx="2711450" cy="20335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81B4F642-74FC-4148-B731-47EF48BAE9FB}" type="datetime1">
              <a:rPr lang="en-US" smtClean="0"/>
              <a:t>9/17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31619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Quintile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192172"/>
            <a:ext cx="9144000" cy="266582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4048" y="1961343"/>
            <a:ext cx="8348472" cy="896112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defRPr sz="2400" b="1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Headlines are 24pt Arial Bold Title Cas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4048" y="3555711"/>
            <a:ext cx="3886200" cy="697627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spcBef>
                <a:spcPts val="200"/>
              </a:spcBef>
              <a:buNone/>
              <a:defRPr sz="1200" i="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Author First Name Last Name</a:t>
            </a:r>
          </a:p>
          <a:p>
            <a:pPr lvl="0"/>
            <a:r>
              <a:rPr lang="en-US" dirty="0" smtClean="0"/>
              <a:t>Title</a:t>
            </a:r>
          </a:p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grpSp>
        <p:nvGrpSpPr>
          <p:cNvPr id="82" name="Group 81"/>
          <p:cNvGrpSpPr/>
          <p:nvPr/>
        </p:nvGrpSpPr>
        <p:grpSpPr bwMode="gray">
          <a:xfrm>
            <a:off x="6449147" y="481445"/>
            <a:ext cx="2316162" cy="1459409"/>
            <a:chOff x="4795838" y="3390900"/>
            <a:chExt cx="2763837" cy="1741488"/>
          </a:xfrm>
        </p:grpSpPr>
        <p:sp>
          <p:nvSpPr>
            <p:cNvPr id="83" name="Freeform 5"/>
            <p:cNvSpPr>
              <a:spLocks noEditPoints="1"/>
            </p:cNvSpPr>
            <p:nvPr/>
          </p:nvSpPr>
          <p:spPr bwMode="gray">
            <a:xfrm>
              <a:off x="4795838" y="4721225"/>
              <a:ext cx="2632075" cy="411163"/>
            </a:xfrm>
            <a:custGeom>
              <a:avLst/>
              <a:gdLst>
                <a:gd name="T0" fmla="*/ 36 w 699"/>
                <a:gd name="T1" fmla="*/ 104 h 109"/>
                <a:gd name="T2" fmla="*/ 10 w 699"/>
                <a:gd name="T3" fmla="*/ 11 h 109"/>
                <a:gd name="T4" fmla="*/ 72 w 699"/>
                <a:gd name="T5" fmla="*/ 52 h 109"/>
                <a:gd name="T6" fmla="*/ 69 w 699"/>
                <a:gd name="T7" fmla="*/ 109 h 109"/>
                <a:gd name="T8" fmla="*/ 12 w 699"/>
                <a:gd name="T9" fmla="*/ 52 h 109"/>
                <a:gd name="T10" fmla="*/ 49 w 699"/>
                <a:gd name="T11" fmla="*/ 89 h 109"/>
                <a:gd name="T12" fmla="*/ 56 w 699"/>
                <a:gd name="T13" fmla="*/ 81 h 109"/>
                <a:gd name="T14" fmla="*/ 36 w 699"/>
                <a:gd name="T15" fmla="*/ 11 h 109"/>
                <a:gd name="T16" fmla="*/ 86 w 699"/>
                <a:gd name="T17" fmla="*/ 78 h 109"/>
                <a:gd name="T18" fmla="*/ 98 w 699"/>
                <a:gd name="T19" fmla="*/ 76 h 109"/>
                <a:gd name="T20" fmla="*/ 131 w 699"/>
                <a:gd name="T21" fmla="*/ 32 h 109"/>
                <a:gd name="T22" fmla="*/ 131 w 699"/>
                <a:gd name="T23" fmla="*/ 104 h 109"/>
                <a:gd name="T24" fmla="*/ 171 w 699"/>
                <a:gd name="T25" fmla="*/ 104 h 109"/>
                <a:gd name="T26" fmla="*/ 159 w 699"/>
                <a:gd name="T27" fmla="*/ 32 h 109"/>
                <a:gd name="T28" fmla="*/ 171 w 699"/>
                <a:gd name="T29" fmla="*/ 104 h 109"/>
                <a:gd name="T30" fmla="*/ 159 w 699"/>
                <a:gd name="T31" fmla="*/ 1 h 109"/>
                <a:gd name="T32" fmla="*/ 244 w 699"/>
                <a:gd name="T33" fmla="*/ 104 h 109"/>
                <a:gd name="T34" fmla="*/ 216 w 699"/>
                <a:gd name="T35" fmla="*/ 42 h 109"/>
                <a:gd name="T36" fmla="*/ 188 w 699"/>
                <a:gd name="T37" fmla="*/ 104 h 109"/>
                <a:gd name="T38" fmla="*/ 200 w 699"/>
                <a:gd name="T39" fmla="*/ 39 h 109"/>
                <a:gd name="T40" fmla="*/ 244 w 699"/>
                <a:gd name="T41" fmla="*/ 58 h 109"/>
                <a:gd name="T42" fmla="*/ 300 w 699"/>
                <a:gd name="T43" fmla="*/ 104 h 109"/>
                <a:gd name="T44" fmla="*/ 312 w 699"/>
                <a:gd name="T45" fmla="*/ 32 h 109"/>
                <a:gd name="T46" fmla="*/ 313 w 699"/>
                <a:gd name="T47" fmla="*/ 14 h 109"/>
                <a:gd name="T48" fmla="*/ 313 w 699"/>
                <a:gd name="T49" fmla="*/ 1 h 109"/>
                <a:gd name="T50" fmla="*/ 358 w 699"/>
                <a:gd name="T51" fmla="*/ 68 h 109"/>
                <a:gd name="T52" fmla="*/ 417 w 699"/>
                <a:gd name="T53" fmla="*/ 71 h 109"/>
                <a:gd name="T54" fmla="*/ 408 w 699"/>
                <a:gd name="T55" fmla="*/ 86 h 109"/>
                <a:gd name="T56" fmla="*/ 416 w 699"/>
                <a:gd name="T57" fmla="*/ 93 h 109"/>
                <a:gd name="T58" fmla="*/ 406 w 699"/>
                <a:gd name="T59" fmla="*/ 62 h 109"/>
                <a:gd name="T60" fmla="*/ 372 w 699"/>
                <a:gd name="T61" fmla="*/ 52 h 109"/>
                <a:gd name="T62" fmla="*/ 424 w 699"/>
                <a:gd name="T63" fmla="*/ 94 h 109"/>
                <a:gd name="T64" fmla="*/ 432 w 699"/>
                <a:gd name="T65" fmla="*/ 86 h 109"/>
                <a:gd name="T66" fmla="*/ 460 w 699"/>
                <a:gd name="T67" fmla="*/ 73 h 109"/>
                <a:gd name="T68" fmla="*/ 453 w 699"/>
                <a:gd name="T69" fmla="*/ 32 h 109"/>
                <a:gd name="T70" fmla="*/ 472 w 699"/>
                <a:gd name="T71" fmla="*/ 47 h 109"/>
                <a:gd name="T72" fmla="*/ 438 w 699"/>
                <a:gd name="T73" fmla="*/ 52 h 109"/>
                <a:gd name="T74" fmla="*/ 482 w 699"/>
                <a:gd name="T75" fmla="*/ 82 h 109"/>
                <a:gd name="T76" fmla="*/ 495 w 699"/>
                <a:gd name="T77" fmla="*/ 104 h 109"/>
                <a:gd name="T78" fmla="*/ 507 w 699"/>
                <a:gd name="T79" fmla="*/ 1 h 109"/>
                <a:gd name="T80" fmla="*/ 616 w 699"/>
                <a:gd name="T81" fmla="*/ 104 h 109"/>
                <a:gd name="T82" fmla="*/ 577 w 699"/>
                <a:gd name="T83" fmla="*/ 88 h 109"/>
                <a:gd name="T84" fmla="*/ 540 w 699"/>
                <a:gd name="T85" fmla="*/ 104 h 109"/>
                <a:gd name="T86" fmla="*/ 540 w 699"/>
                <a:gd name="T87" fmla="*/ 1 h 109"/>
                <a:gd name="T88" fmla="*/ 604 w 699"/>
                <a:gd name="T89" fmla="*/ 1 h 109"/>
                <a:gd name="T90" fmla="*/ 663 w 699"/>
                <a:gd name="T91" fmla="*/ 104 h 109"/>
                <a:gd name="T92" fmla="*/ 636 w 699"/>
                <a:gd name="T93" fmla="*/ 82 h 109"/>
                <a:gd name="T94" fmla="*/ 687 w 699"/>
                <a:gd name="T95" fmla="*/ 75 h 109"/>
                <a:gd name="T96" fmla="*/ 658 w 699"/>
                <a:gd name="T97" fmla="*/ 57 h 109"/>
                <a:gd name="T98" fmla="*/ 664 w 699"/>
                <a:gd name="T99" fmla="*/ 0 h 109"/>
                <a:gd name="T100" fmla="*/ 687 w 699"/>
                <a:gd name="T101" fmla="*/ 20 h 109"/>
                <a:gd name="T102" fmla="*/ 643 w 699"/>
                <a:gd name="T103" fmla="*/ 29 h 109"/>
                <a:gd name="T104" fmla="*/ 671 w 699"/>
                <a:gd name="T105" fmla="*/ 47 h 109"/>
                <a:gd name="T106" fmla="*/ 663 w 699"/>
                <a:gd name="T107" fmla="*/ 104 h 109"/>
                <a:gd name="T108" fmla="*/ 262 w 699"/>
                <a:gd name="T109" fmla="*/ 84 h 109"/>
                <a:gd name="T110" fmla="*/ 253 w 699"/>
                <a:gd name="T111" fmla="*/ 32 h 109"/>
                <a:gd name="T112" fmla="*/ 274 w 699"/>
                <a:gd name="T113" fmla="*/ 11 h 109"/>
                <a:gd name="T114" fmla="*/ 289 w 699"/>
                <a:gd name="T115" fmla="*/ 42 h 109"/>
                <a:gd name="T116" fmla="*/ 283 w 699"/>
                <a:gd name="T117" fmla="*/ 93 h 109"/>
                <a:gd name="T118" fmla="*/ 283 w 699"/>
                <a:gd name="T119" fmla="*/ 104 h 109"/>
                <a:gd name="T120" fmla="*/ 329 w 699"/>
                <a:gd name="T121" fmla="*/ 84 h 109"/>
                <a:gd name="T122" fmla="*/ 340 w 699"/>
                <a:gd name="T123" fmla="*/ 84 h 109"/>
                <a:gd name="T124" fmla="*/ 350 w 699"/>
                <a:gd name="T125" fmla="*/ 9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99" h="109">
                  <a:moveTo>
                    <a:pt x="69" y="109"/>
                  </a:moveTo>
                  <a:cubicBezTo>
                    <a:pt x="58" y="98"/>
                    <a:pt x="58" y="98"/>
                    <a:pt x="58" y="98"/>
                  </a:cubicBezTo>
                  <a:cubicBezTo>
                    <a:pt x="52" y="102"/>
                    <a:pt x="44" y="104"/>
                    <a:pt x="36" y="104"/>
                  </a:cubicBezTo>
                  <a:cubicBezTo>
                    <a:pt x="26" y="104"/>
                    <a:pt x="17" y="101"/>
                    <a:pt x="10" y="94"/>
                  </a:cubicBezTo>
                  <a:cubicBezTo>
                    <a:pt x="0" y="84"/>
                    <a:pt x="0" y="75"/>
                    <a:pt x="0" y="52"/>
                  </a:cubicBezTo>
                  <a:cubicBezTo>
                    <a:pt x="0" y="30"/>
                    <a:pt x="0" y="20"/>
                    <a:pt x="10" y="11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6" y="0"/>
                    <a:pt x="55" y="4"/>
                    <a:pt x="62" y="11"/>
                  </a:cubicBezTo>
                  <a:cubicBezTo>
                    <a:pt x="71" y="20"/>
                    <a:pt x="72" y="29"/>
                    <a:pt x="72" y="52"/>
                  </a:cubicBezTo>
                  <a:cubicBezTo>
                    <a:pt x="72" y="72"/>
                    <a:pt x="72" y="81"/>
                    <a:pt x="65" y="90"/>
                  </a:cubicBezTo>
                  <a:cubicBezTo>
                    <a:pt x="76" y="101"/>
                    <a:pt x="76" y="101"/>
                    <a:pt x="76" y="101"/>
                  </a:cubicBezTo>
                  <a:lnTo>
                    <a:pt x="69" y="109"/>
                  </a:lnTo>
                  <a:close/>
                  <a:moveTo>
                    <a:pt x="36" y="11"/>
                  </a:moveTo>
                  <a:cubicBezTo>
                    <a:pt x="29" y="11"/>
                    <a:pt x="23" y="14"/>
                    <a:pt x="19" y="18"/>
                  </a:cubicBezTo>
                  <a:cubicBezTo>
                    <a:pt x="13" y="25"/>
                    <a:pt x="12" y="31"/>
                    <a:pt x="12" y="52"/>
                  </a:cubicBezTo>
                  <a:cubicBezTo>
                    <a:pt x="12" y="74"/>
                    <a:pt x="13" y="80"/>
                    <a:pt x="19" y="86"/>
                  </a:cubicBezTo>
                  <a:cubicBezTo>
                    <a:pt x="23" y="91"/>
                    <a:pt x="29" y="93"/>
                    <a:pt x="36" y="93"/>
                  </a:cubicBezTo>
                  <a:cubicBezTo>
                    <a:pt x="41" y="93"/>
                    <a:pt x="46" y="92"/>
                    <a:pt x="49" y="89"/>
                  </a:cubicBezTo>
                  <a:cubicBezTo>
                    <a:pt x="37" y="76"/>
                    <a:pt x="37" y="76"/>
                    <a:pt x="37" y="76"/>
                  </a:cubicBezTo>
                  <a:cubicBezTo>
                    <a:pt x="44" y="69"/>
                    <a:pt x="44" y="69"/>
                    <a:pt x="44" y="69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59" y="75"/>
                    <a:pt x="60" y="67"/>
                    <a:pt x="60" y="52"/>
                  </a:cubicBezTo>
                  <a:cubicBezTo>
                    <a:pt x="60" y="31"/>
                    <a:pt x="59" y="25"/>
                    <a:pt x="53" y="18"/>
                  </a:cubicBezTo>
                  <a:cubicBezTo>
                    <a:pt x="49" y="14"/>
                    <a:pt x="43" y="11"/>
                    <a:pt x="36" y="11"/>
                  </a:cubicBezTo>
                  <a:close/>
                  <a:moveTo>
                    <a:pt x="112" y="104"/>
                  </a:moveTo>
                  <a:cubicBezTo>
                    <a:pt x="104" y="104"/>
                    <a:pt x="98" y="102"/>
                    <a:pt x="93" y="98"/>
                  </a:cubicBezTo>
                  <a:cubicBezTo>
                    <a:pt x="88" y="93"/>
                    <a:pt x="86" y="86"/>
                    <a:pt x="86" y="78"/>
                  </a:cubicBezTo>
                  <a:cubicBezTo>
                    <a:pt x="86" y="32"/>
                    <a:pt x="86" y="32"/>
                    <a:pt x="86" y="32"/>
                  </a:cubicBezTo>
                  <a:cubicBezTo>
                    <a:pt x="98" y="32"/>
                    <a:pt x="98" y="32"/>
                    <a:pt x="98" y="32"/>
                  </a:cubicBezTo>
                  <a:cubicBezTo>
                    <a:pt x="98" y="76"/>
                    <a:pt x="98" y="76"/>
                    <a:pt x="98" y="76"/>
                  </a:cubicBezTo>
                  <a:cubicBezTo>
                    <a:pt x="98" y="88"/>
                    <a:pt x="104" y="94"/>
                    <a:pt x="114" y="94"/>
                  </a:cubicBezTo>
                  <a:cubicBezTo>
                    <a:pt x="125" y="94"/>
                    <a:pt x="131" y="87"/>
                    <a:pt x="131" y="76"/>
                  </a:cubicBezTo>
                  <a:cubicBezTo>
                    <a:pt x="131" y="32"/>
                    <a:pt x="131" y="32"/>
                    <a:pt x="131" y="32"/>
                  </a:cubicBezTo>
                  <a:cubicBezTo>
                    <a:pt x="142" y="32"/>
                    <a:pt x="142" y="32"/>
                    <a:pt x="142" y="32"/>
                  </a:cubicBezTo>
                  <a:cubicBezTo>
                    <a:pt x="142" y="104"/>
                    <a:pt x="142" y="104"/>
                    <a:pt x="142" y="104"/>
                  </a:cubicBezTo>
                  <a:cubicBezTo>
                    <a:pt x="131" y="104"/>
                    <a:pt x="131" y="104"/>
                    <a:pt x="131" y="104"/>
                  </a:cubicBezTo>
                  <a:cubicBezTo>
                    <a:pt x="131" y="97"/>
                    <a:pt x="131" y="97"/>
                    <a:pt x="131" y="97"/>
                  </a:cubicBezTo>
                  <a:cubicBezTo>
                    <a:pt x="126" y="102"/>
                    <a:pt x="119" y="104"/>
                    <a:pt x="112" y="104"/>
                  </a:cubicBezTo>
                  <a:close/>
                  <a:moveTo>
                    <a:pt x="171" y="104"/>
                  </a:moveTo>
                  <a:cubicBezTo>
                    <a:pt x="159" y="104"/>
                    <a:pt x="159" y="104"/>
                    <a:pt x="159" y="104"/>
                  </a:cubicBezTo>
                  <a:cubicBezTo>
                    <a:pt x="159" y="66"/>
                    <a:pt x="159" y="66"/>
                    <a:pt x="159" y="66"/>
                  </a:cubicBezTo>
                  <a:cubicBezTo>
                    <a:pt x="159" y="32"/>
                    <a:pt x="159" y="32"/>
                    <a:pt x="159" y="32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171" y="65"/>
                    <a:pt x="171" y="65"/>
                    <a:pt x="171" y="65"/>
                  </a:cubicBezTo>
                  <a:lnTo>
                    <a:pt x="171" y="104"/>
                  </a:lnTo>
                  <a:close/>
                  <a:moveTo>
                    <a:pt x="172" y="14"/>
                  </a:moveTo>
                  <a:cubicBezTo>
                    <a:pt x="159" y="14"/>
                    <a:pt x="159" y="14"/>
                    <a:pt x="159" y="14"/>
                  </a:cubicBezTo>
                  <a:cubicBezTo>
                    <a:pt x="159" y="1"/>
                    <a:pt x="159" y="1"/>
                    <a:pt x="159" y="1"/>
                  </a:cubicBezTo>
                  <a:cubicBezTo>
                    <a:pt x="172" y="1"/>
                    <a:pt x="172" y="1"/>
                    <a:pt x="172" y="1"/>
                  </a:cubicBezTo>
                  <a:lnTo>
                    <a:pt x="172" y="14"/>
                  </a:lnTo>
                  <a:close/>
                  <a:moveTo>
                    <a:pt x="244" y="104"/>
                  </a:moveTo>
                  <a:cubicBezTo>
                    <a:pt x="233" y="104"/>
                    <a:pt x="233" y="104"/>
                    <a:pt x="233" y="104"/>
                  </a:cubicBezTo>
                  <a:cubicBezTo>
                    <a:pt x="233" y="60"/>
                    <a:pt x="233" y="60"/>
                    <a:pt x="233" y="60"/>
                  </a:cubicBezTo>
                  <a:cubicBezTo>
                    <a:pt x="233" y="48"/>
                    <a:pt x="227" y="42"/>
                    <a:pt x="216" y="42"/>
                  </a:cubicBezTo>
                  <a:cubicBezTo>
                    <a:pt x="206" y="42"/>
                    <a:pt x="200" y="49"/>
                    <a:pt x="200" y="60"/>
                  </a:cubicBezTo>
                  <a:cubicBezTo>
                    <a:pt x="200" y="104"/>
                    <a:pt x="200" y="104"/>
                    <a:pt x="200" y="104"/>
                  </a:cubicBezTo>
                  <a:cubicBezTo>
                    <a:pt x="188" y="104"/>
                    <a:pt x="188" y="104"/>
                    <a:pt x="188" y="104"/>
                  </a:cubicBezTo>
                  <a:cubicBezTo>
                    <a:pt x="188" y="32"/>
                    <a:pt x="188" y="32"/>
                    <a:pt x="188" y="32"/>
                  </a:cubicBezTo>
                  <a:cubicBezTo>
                    <a:pt x="200" y="32"/>
                    <a:pt x="200" y="32"/>
                    <a:pt x="200" y="32"/>
                  </a:cubicBezTo>
                  <a:cubicBezTo>
                    <a:pt x="200" y="39"/>
                    <a:pt x="200" y="39"/>
                    <a:pt x="200" y="39"/>
                  </a:cubicBezTo>
                  <a:cubicBezTo>
                    <a:pt x="205" y="34"/>
                    <a:pt x="211" y="32"/>
                    <a:pt x="218" y="32"/>
                  </a:cubicBezTo>
                  <a:cubicBezTo>
                    <a:pt x="226" y="32"/>
                    <a:pt x="232" y="34"/>
                    <a:pt x="237" y="38"/>
                  </a:cubicBezTo>
                  <a:cubicBezTo>
                    <a:pt x="242" y="43"/>
                    <a:pt x="244" y="50"/>
                    <a:pt x="244" y="58"/>
                  </a:cubicBezTo>
                  <a:lnTo>
                    <a:pt x="244" y="104"/>
                  </a:lnTo>
                  <a:close/>
                  <a:moveTo>
                    <a:pt x="312" y="104"/>
                  </a:moveTo>
                  <a:cubicBezTo>
                    <a:pt x="300" y="104"/>
                    <a:pt x="300" y="104"/>
                    <a:pt x="300" y="104"/>
                  </a:cubicBezTo>
                  <a:cubicBezTo>
                    <a:pt x="300" y="65"/>
                    <a:pt x="300" y="65"/>
                    <a:pt x="300" y="65"/>
                  </a:cubicBezTo>
                  <a:cubicBezTo>
                    <a:pt x="300" y="32"/>
                    <a:pt x="300" y="32"/>
                    <a:pt x="300" y="32"/>
                  </a:cubicBezTo>
                  <a:cubicBezTo>
                    <a:pt x="312" y="32"/>
                    <a:pt x="312" y="32"/>
                    <a:pt x="312" y="32"/>
                  </a:cubicBezTo>
                  <a:cubicBezTo>
                    <a:pt x="312" y="65"/>
                    <a:pt x="312" y="65"/>
                    <a:pt x="312" y="65"/>
                  </a:cubicBezTo>
                  <a:lnTo>
                    <a:pt x="312" y="104"/>
                  </a:lnTo>
                  <a:close/>
                  <a:moveTo>
                    <a:pt x="313" y="14"/>
                  </a:moveTo>
                  <a:cubicBezTo>
                    <a:pt x="300" y="14"/>
                    <a:pt x="300" y="14"/>
                    <a:pt x="300" y="14"/>
                  </a:cubicBezTo>
                  <a:cubicBezTo>
                    <a:pt x="300" y="1"/>
                    <a:pt x="300" y="1"/>
                    <a:pt x="300" y="1"/>
                  </a:cubicBezTo>
                  <a:cubicBezTo>
                    <a:pt x="313" y="1"/>
                    <a:pt x="313" y="1"/>
                    <a:pt x="313" y="1"/>
                  </a:cubicBezTo>
                  <a:lnTo>
                    <a:pt x="313" y="14"/>
                  </a:lnTo>
                  <a:close/>
                  <a:moveTo>
                    <a:pt x="390" y="104"/>
                  </a:moveTo>
                  <a:cubicBezTo>
                    <a:pt x="369" y="104"/>
                    <a:pt x="358" y="91"/>
                    <a:pt x="358" y="68"/>
                  </a:cubicBezTo>
                  <a:cubicBezTo>
                    <a:pt x="358" y="45"/>
                    <a:pt x="369" y="32"/>
                    <a:pt x="388" y="32"/>
                  </a:cubicBezTo>
                  <a:cubicBezTo>
                    <a:pt x="406" y="32"/>
                    <a:pt x="417" y="44"/>
                    <a:pt x="417" y="66"/>
                  </a:cubicBezTo>
                  <a:cubicBezTo>
                    <a:pt x="417" y="71"/>
                    <a:pt x="417" y="71"/>
                    <a:pt x="417" y="71"/>
                  </a:cubicBezTo>
                  <a:cubicBezTo>
                    <a:pt x="370" y="71"/>
                    <a:pt x="370" y="71"/>
                    <a:pt x="370" y="71"/>
                  </a:cubicBezTo>
                  <a:cubicBezTo>
                    <a:pt x="370" y="86"/>
                    <a:pt x="377" y="94"/>
                    <a:pt x="390" y="94"/>
                  </a:cubicBezTo>
                  <a:cubicBezTo>
                    <a:pt x="397" y="94"/>
                    <a:pt x="402" y="92"/>
                    <a:pt x="408" y="86"/>
                  </a:cubicBezTo>
                  <a:cubicBezTo>
                    <a:pt x="408" y="86"/>
                    <a:pt x="408" y="86"/>
                    <a:pt x="408" y="86"/>
                  </a:cubicBezTo>
                  <a:cubicBezTo>
                    <a:pt x="416" y="93"/>
                    <a:pt x="416" y="93"/>
                    <a:pt x="416" y="93"/>
                  </a:cubicBezTo>
                  <a:cubicBezTo>
                    <a:pt x="416" y="93"/>
                    <a:pt x="416" y="93"/>
                    <a:pt x="416" y="93"/>
                  </a:cubicBezTo>
                  <a:cubicBezTo>
                    <a:pt x="409" y="100"/>
                    <a:pt x="402" y="104"/>
                    <a:pt x="390" y="104"/>
                  </a:cubicBezTo>
                  <a:close/>
                  <a:moveTo>
                    <a:pt x="370" y="62"/>
                  </a:moveTo>
                  <a:cubicBezTo>
                    <a:pt x="406" y="62"/>
                    <a:pt x="406" y="62"/>
                    <a:pt x="406" y="62"/>
                  </a:cubicBezTo>
                  <a:cubicBezTo>
                    <a:pt x="405" y="57"/>
                    <a:pt x="405" y="55"/>
                    <a:pt x="403" y="52"/>
                  </a:cubicBezTo>
                  <a:cubicBezTo>
                    <a:pt x="400" y="45"/>
                    <a:pt x="395" y="42"/>
                    <a:pt x="388" y="42"/>
                  </a:cubicBezTo>
                  <a:cubicBezTo>
                    <a:pt x="381" y="42"/>
                    <a:pt x="375" y="45"/>
                    <a:pt x="372" y="52"/>
                  </a:cubicBezTo>
                  <a:cubicBezTo>
                    <a:pt x="371" y="55"/>
                    <a:pt x="370" y="57"/>
                    <a:pt x="370" y="62"/>
                  </a:cubicBezTo>
                  <a:close/>
                  <a:moveTo>
                    <a:pt x="453" y="104"/>
                  </a:moveTo>
                  <a:cubicBezTo>
                    <a:pt x="440" y="104"/>
                    <a:pt x="431" y="101"/>
                    <a:pt x="424" y="94"/>
                  </a:cubicBezTo>
                  <a:cubicBezTo>
                    <a:pt x="423" y="94"/>
                    <a:pt x="423" y="94"/>
                    <a:pt x="423" y="94"/>
                  </a:cubicBezTo>
                  <a:cubicBezTo>
                    <a:pt x="431" y="86"/>
                    <a:pt x="431" y="86"/>
                    <a:pt x="431" y="86"/>
                  </a:cubicBezTo>
                  <a:cubicBezTo>
                    <a:pt x="432" y="86"/>
                    <a:pt x="432" y="86"/>
                    <a:pt x="432" y="86"/>
                  </a:cubicBezTo>
                  <a:cubicBezTo>
                    <a:pt x="437" y="92"/>
                    <a:pt x="444" y="94"/>
                    <a:pt x="453" y="94"/>
                  </a:cubicBezTo>
                  <a:cubicBezTo>
                    <a:pt x="459" y="94"/>
                    <a:pt x="471" y="93"/>
                    <a:pt x="471" y="83"/>
                  </a:cubicBezTo>
                  <a:cubicBezTo>
                    <a:pt x="471" y="77"/>
                    <a:pt x="467" y="74"/>
                    <a:pt x="460" y="73"/>
                  </a:cubicBezTo>
                  <a:cubicBezTo>
                    <a:pt x="448" y="72"/>
                    <a:pt x="448" y="72"/>
                    <a:pt x="448" y="72"/>
                  </a:cubicBezTo>
                  <a:cubicBezTo>
                    <a:pt x="434" y="71"/>
                    <a:pt x="427" y="64"/>
                    <a:pt x="427" y="53"/>
                  </a:cubicBezTo>
                  <a:cubicBezTo>
                    <a:pt x="427" y="40"/>
                    <a:pt x="437" y="32"/>
                    <a:pt x="453" y="32"/>
                  </a:cubicBezTo>
                  <a:cubicBezTo>
                    <a:pt x="464" y="32"/>
                    <a:pt x="472" y="34"/>
                    <a:pt x="479" y="39"/>
                  </a:cubicBezTo>
                  <a:cubicBezTo>
                    <a:pt x="479" y="40"/>
                    <a:pt x="479" y="40"/>
                    <a:pt x="479" y="40"/>
                  </a:cubicBezTo>
                  <a:cubicBezTo>
                    <a:pt x="472" y="47"/>
                    <a:pt x="472" y="47"/>
                    <a:pt x="472" y="47"/>
                  </a:cubicBezTo>
                  <a:cubicBezTo>
                    <a:pt x="471" y="47"/>
                    <a:pt x="471" y="47"/>
                    <a:pt x="471" y="47"/>
                  </a:cubicBezTo>
                  <a:cubicBezTo>
                    <a:pt x="466" y="43"/>
                    <a:pt x="460" y="42"/>
                    <a:pt x="453" y="42"/>
                  </a:cubicBezTo>
                  <a:cubicBezTo>
                    <a:pt x="443" y="42"/>
                    <a:pt x="438" y="45"/>
                    <a:pt x="438" y="52"/>
                  </a:cubicBezTo>
                  <a:cubicBezTo>
                    <a:pt x="438" y="58"/>
                    <a:pt x="442" y="61"/>
                    <a:pt x="450" y="62"/>
                  </a:cubicBezTo>
                  <a:cubicBezTo>
                    <a:pt x="461" y="63"/>
                    <a:pt x="461" y="63"/>
                    <a:pt x="461" y="63"/>
                  </a:cubicBezTo>
                  <a:cubicBezTo>
                    <a:pt x="470" y="64"/>
                    <a:pt x="482" y="67"/>
                    <a:pt x="482" y="82"/>
                  </a:cubicBezTo>
                  <a:cubicBezTo>
                    <a:pt x="482" y="96"/>
                    <a:pt x="471" y="104"/>
                    <a:pt x="453" y="104"/>
                  </a:cubicBezTo>
                  <a:close/>
                  <a:moveTo>
                    <a:pt x="507" y="104"/>
                  </a:moveTo>
                  <a:cubicBezTo>
                    <a:pt x="495" y="104"/>
                    <a:pt x="495" y="104"/>
                    <a:pt x="495" y="104"/>
                  </a:cubicBezTo>
                  <a:cubicBezTo>
                    <a:pt x="495" y="57"/>
                    <a:pt x="495" y="57"/>
                    <a:pt x="495" y="57"/>
                  </a:cubicBezTo>
                  <a:cubicBezTo>
                    <a:pt x="495" y="1"/>
                    <a:pt x="495" y="1"/>
                    <a:pt x="495" y="1"/>
                  </a:cubicBezTo>
                  <a:cubicBezTo>
                    <a:pt x="507" y="1"/>
                    <a:pt x="507" y="1"/>
                    <a:pt x="507" y="1"/>
                  </a:cubicBezTo>
                  <a:cubicBezTo>
                    <a:pt x="507" y="57"/>
                    <a:pt x="507" y="57"/>
                    <a:pt x="507" y="57"/>
                  </a:cubicBezTo>
                  <a:lnTo>
                    <a:pt x="507" y="104"/>
                  </a:lnTo>
                  <a:close/>
                  <a:moveTo>
                    <a:pt x="616" y="104"/>
                  </a:moveTo>
                  <a:cubicBezTo>
                    <a:pt x="604" y="104"/>
                    <a:pt x="604" y="104"/>
                    <a:pt x="604" y="104"/>
                  </a:cubicBezTo>
                  <a:cubicBezTo>
                    <a:pt x="604" y="30"/>
                    <a:pt x="604" y="30"/>
                    <a:pt x="604" y="30"/>
                  </a:cubicBezTo>
                  <a:cubicBezTo>
                    <a:pt x="577" y="88"/>
                    <a:pt x="577" y="88"/>
                    <a:pt x="577" y="88"/>
                  </a:cubicBezTo>
                  <a:cubicBezTo>
                    <a:pt x="567" y="88"/>
                    <a:pt x="567" y="88"/>
                    <a:pt x="567" y="88"/>
                  </a:cubicBezTo>
                  <a:cubicBezTo>
                    <a:pt x="540" y="30"/>
                    <a:pt x="540" y="30"/>
                    <a:pt x="540" y="30"/>
                  </a:cubicBezTo>
                  <a:cubicBezTo>
                    <a:pt x="540" y="104"/>
                    <a:pt x="540" y="104"/>
                    <a:pt x="540" y="104"/>
                  </a:cubicBezTo>
                  <a:cubicBezTo>
                    <a:pt x="528" y="104"/>
                    <a:pt x="528" y="104"/>
                    <a:pt x="528" y="104"/>
                  </a:cubicBezTo>
                  <a:cubicBezTo>
                    <a:pt x="528" y="1"/>
                    <a:pt x="528" y="1"/>
                    <a:pt x="528" y="1"/>
                  </a:cubicBezTo>
                  <a:cubicBezTo>
                    <a:pt x="540" y="1"/>
                    <a:pt x="540" y="1"/>
                    <a:pt x="540" y="1"/>
                  </a:cubicBezTo>
                  <a:cubicBezTo>
                    <a:pt x="540" y="2"/>
                    <a:pt x="540" y="2"/>
                    <a:pt x="540" y="2"/>
                  </a:cubicBezTo>
                  <a:cubicBezTo>
                    <a:pt x="572" y="72"/>
                    <a:pt x="572" y="72"/>
                    <a:pt x="572" y="72"/>
                  </a:cubicBezTo>
                  <a:cubicBezTo>
                    <a:pt x="604" y="1"/>
                    <a:pt x="604" y="1"/>
                    <a:pt x="604" y="1"/>
                  </a:cubicBezTo>
                  <a:cubicBezTo>
                    <a:pt x="616" y="1"/>
                    <a:pt x="616" y="1"/>
                    <a:pt x="616" y="1"/>
                  </a:cubicBezTo>
                  <a:lnTo>
                    <a:pt x="616" y="104"/>
                  </a:lnTo>
                  <a:close/>
                  <a:moveTo>
                    <a:pt x="663" y="104"/>
                  </a:moveTo>
                  <a:cubicBezTo>
                    <a:pt x="648" y="104"/>
                    <a:pt x="638" y="101"/>
                    <a:pt x="628" y="91"/>
                  </a:cubicBezTo>
                  <a:cubicBezTo>
                    <a:pt x="628" y="90"/>
                    <a:pt x="628" y="90"/>
                    <a:pt x="628" y="90"/>
                  </a:cubicBezTo>
                  <a:cubicBezTo>
                    <a:pt x="636" y="82"/>
                    <a:pt x="636" y="82"/>
                    <a:pt x="636" y="82"/>
                  </a:cubicBezTo>
                  <a:cubicBezTo>
                    <a:pt x="637" y="83"/>
                    <a:pt x="637" y="83"/>
                    <a:pt x="637" y="83"/>
                  </a:cubicBezTo>
                  <a:cubicBezTo>
                    <a:pt x="644" y="90"/>
                    <a:pt x="652" y="93"/>
                    <a:pt x="664" y="93"/>
                  </a:cubicBezTo>
                  <a:cubicBezTo>
                    <a:pt x="678" y="93"/>
                    <a:pt x="687" y="87"/>
                    <a:pt x="687" y="75"/>
                  </a:cubicBezTo>
                  <a:cubicBezTo>
                    <a:pt x="687" y="70"/>
                    <a:pt x="685" y="66"/>
                    <a:pt x="682" y="63"/>
                  </a:cubicBezTo>
                  <a:cubicBezTo>
                    <a:pt x="679" y="61"/>
                    <a:pt x="677" y="60"/>
                    <a:pt x="669" y="59"/>
                  </a:cubicBezTo>
                  <a:cubicBezTo>
                    <a:pt x="658" y="57"/>
                    <a:pt x="658" y="57"/>
                    <a:pt x="658" y="57"/>
                  </a:cubicBezTo>
                  <a:cubicBezTo>
                    <a:pt x="649" y="55"/>
                    <a:pt x="643" y="53"/>
                    <a:pt x="639" y="49"/>
                  </a:cubicBezTo>
                  <a:cubicBezTo>
                    <a:pt x="633" y="44"/>
                    <a:pt x="631" y="38"/>
                    <a:pt x="631" y="29"/>
                  </a:cubicBezTo>
                  <a:cubicBezTo>
                    <a:pt x="631" y="12"/>
                    <a:pt x="644" y="0"/>
                    <a:pt x="664" y="0"/>
                  </a:cubicBezTo>
                  <a:cubicBezTo>
                    <a:pt x="676" y="0"/>
                    <a:pt x="685" y="4"/>
                    <a:pt x="694" y="12"/>
                  </a:cubicBezTo>
                  <a:cubicBezTo>
                    <a:pt x="695" y="12"/>
                    <a:pt x="695" y="12"/>
                    <a:pt x="695" y="12"/>
                  </a:cubicBezTo>
                  <a:cubicBezTo>
                    <a:pt x="687" y="20"/>
                    <a:pt x="687" y="20"/>
                    <a:pt x="687" y="20"/>
                  </a:cubicBezTo>
                  <a:cubicBezTo>
                    <a:pt x="686" y="20"/>
                    <a:pt x="686" y="20"/>
                    <a:pt x="686" y="20"/>
                  </a:cubicBezTo>
                  <a:cubicBezTo>
                    <a:pt x="680" y="14"/>
                    <a:pt x="673" y="11"/>
                    <a:pt x="663" y="11"/>
                  </a:cubicBezTo>
                  <a:cubicBezTo>
                    <a:pt x="651" y="11"/>
                    <a:pt x="643" y="18"/>
                    <a:pt x="643" y="29"/>
                  </a:cubicBezTo>
                  <a:cubicBezTo>
                    <a:pt x="643" y="34"/>
                    <a:pt x="644" y="38"/>
                    <a:pt x="647" y="40"/>
                  </a:cubicBezTo>
                  <a:cubicBezTo>
                    <a:pt x="650" y="43"/>
                    <a:pt x="654" y="45"/>
                    <a:pt x="660" y="45"/>
                  </a:cubicBezTo>
                  <a:cubicBezTo>
                    <a:pt x="671" y="47"/>
                    <a:pt x="671" y="47"/>
                    <a:pt x="671" y="47"/>
                  </a:cubicBezTo>
                  <a:cubicBezTo>
                    <a:pt x="681" y="49"/>
                    <a:pt x="686" y="51"/>
                    <a:pt x="690" y="55"/>
                  </a:cubicBezTo>
                  <a:cubicBezTo>
                    <a:pt x="696" y="60"/>
                    <a:pt x="699" y="67"/>
                    <a:pt x="699" y="75"/>
                  </a:cubicBezTo>
                  <a:cubicBezTo>
                    <a:pt x="699" y="93"/>
                    <a:pt x="685" y="104"/>
                    <a:pt x="663" y="104"/>
                  </a:cubicBezTo>
                  <a:close/>
                  <a:moveTo>
                    <a:pt x="283" y="104"/>
                  </a:moveTo>
                  <a:cubicBezTo>
                    <a:pt x="281" y="104"/>
                    <a:pt x="281" y="104"/>
                    <a:pt x="281" y="104"/>
                  </a:cubicBezTo>
                  <a:cubicBezTo>
                    <a:pt x="269" y="104"/>
                    <a:pt x="262" y="96"/>
                    <a:pt x="262" y="84"/>
                  </a:cubicBezTo>
                  <a:cubicBezTo>
                    <a:pt x="262" y="42"/>
                    <a:pt x="262" y="42"/>
                    <a:pt x="262" y="42"/>
                  </a:cubicBezTo>
                  <a:cubicBezTo>
                    <a:pt x="253" y="42"/>
                    <a:pt x="253" y="42"/>
                    <a:pt x="253" y="42"/>
                  </a:cubicBezTo>
                  <a:cubicBezTo>
                    <a:pt x="253" y="32"/>
                    <a:pt x="253" y="32"/>
                    <a:pt x="253" y="32"/>
                  </a:cubicBezTo>
                  <a:cubicBezTo>
                    <a:pt x="262" y="32"/>
                    <a:pt x="262" y="32"/>
                    <a:pt x="262" y="32"/>
                  </a:cubicBezTo>
                  <a:cubicBezTo>
                    <a:pt x="262" y="11"/>
                    <a:pt x="262" y="11"/>
                    <a:pt x="262" y="11"/>
                  </a:cubicBezTo>
                  <a:cubicBezTo>
                    <a:pt x="274" y="11"/>
                    <a:pt x="274" y="11"/>
                    <a:pt x="274" y="11"/>
                  </a:cubicBezTo>
                  <a:cubicBezTo>
                    <a:pt x="274" y="32"/>
                    <a:pt x="274" y="32"/>
                    <a:pt x="274" y="32"/>
                  </a:cubicBezTo>
                  <a:cubicBezTo>
                    <a:pt x="289" y="32"/>
                    <a:pt x="289" y="32"/>
                    <a:pt x="289" y="32"/>
                  </a:cubicBezTo>
                  <a:cubicBezTo>
                    <a:pt x="289" y="42"/>
                    <a:pt x="289" y="42"/>
                    <a:pt x="289" y="42"/>
                  </a:cubicBezTo>
                  <a:cubicBezTo>
                    <a:pt x="274" y="42"/>
                    <a:pt x="274" y="42"/>
                    <a:pt x="274" y="42"/>
                  </a:cubicBezTo>
                  <a:cubicBezTo>
                    <a:pt x="274" y="84"/>
                    <a:pt x="274" y="84"/>
                    <a:pt x="274" y="84"/>
                  </a:cubicBezTo>
                  <a:cubicBezTo>
                    <a:pt x="274" y="90"/>
                    <a:pt x="277" y="93"/>
                    <a:pt x="283" y="93"/>
                  </a:cubicBezTo>
                  <a:cubicBezTo>
                    <a:pt x="283" y="93"/>
                    <a:pt x="283" y="93"/>
                    <a:pt x="283" y="93"/>
                  </a:cubicBezTo>
                  <a:cubicBezTo>
                    <a:pt x="283" y="94"/>
                    <a:pt x="283" y="94"/>
                    <a:pt x="283" y="94"/>
                  </a:cubicBezTo>
                  <a:lnTo>
                    <a:pt x="283" y="104"/>
                  </a:lnTo>
                  <a:close/>
                  <a:moveTo>
                    <a:pt x="350" y="104"/>
                  </a:moveTo>
                  <a:cubicBezTo>
                    <a:pt x="347" y="104"/>
                    <a:pt x="347" y="104"/>
                    <a:pt x="347" y="104"/>
                  </a:cubicBezTo>
                  <a:cubicBezTo>
                    <a:pt x="336" y="104"/>
                    <a:pt x="329" y="96"/>
                    <a:pt x="329" y="84"/>
                  </a:cubicBezTo>
                  <a:cubicBezTo>
                    <a:pt x="329" y="1"/>
                    <a:pt x="329" y="1"/>
                    <a:pt x="329" y="1"/>
                  </a:cubicBezTo>
                  <a:cubicBezTo>
                    <a:pt x="340" y="1"/>
                    <a:pt x="340" y="1"/>
                    <a:pt x="340" y="1"/>
                  </a:cubicBezTo>
                  <a:cubicBezTo>
                    <a:pt x="340" y="84"/>
                    <a:pt x="340" y="84"/>
                    <a:pt x="340" y="84"/>
                  </a:cubicBezTo>
                  <a:cubicBezTo>
                    <a:pt x="340" y="91"/>
                    <a:pt x="343" y="93"/>
                    <a:pt x="349" y="93"/>
                  </a:cubicBezTo>
                  <a:cubicBezTo>
                    <a:pt x="350" y="93"/>
                    <a:pt x="350" y="93"/>
                    <a:pt x="350" y="93"/>
                  </a:cubicBezTo>
                  <a:cubicBezTo>
                    <a:pt x="350" y="94"/>
                    <a:pt x="350" y="94"/>
                    <a:pt x="350" y="94"/>
                  </a:cubicBezTo>
                  <a:lnTo>
                    <a:pt x="350" y="104"/>
                  </a:lnTo>
                  <a:close/>
                </a:path>
              </a:pathLst>
            </a:custGeom>
            <a:solidFill>
              <a:srgbClr val="77787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6"/>
            <p:cNvSpPr>
              <a:spLocks noEditPoints="1"/>
            </p:cNvSpPr>
            <p:nvPr/>
          </p:nvSpPr>
          <p:spPr bwMode="gray">
            <a:xfrm>
              <a:off x="7458075" y="4721225"/>
              <a:ext cx="101600" cy="55563"/>
            </a:xfrm>
            <a:custGeom>
              <a:avLst/>
              <a:gdLst>
                <a:gd name="T0" fmla="*/ 14 w 64"/>
                <a:gd name="T1" fmla="*/ 7 h 35"/>
                <a:gd name="T2" fmla="*/ 14 w 64"/>
                <a:gd name="T3" fmla="*/ 35 h 35"/>
                <a:gd name="T4" fmla="*/ 9 w 64"/>
                <a:gd name="T5" fmla="*/ 35 h 35"/>
                <a:gd name="T6" fmla="*/ 9 w 64"/>
                <a:gd name="T7" fmla="*/ 7 h 35"/>
                <a:gd name="T8" fmla="*/ 0 w 64"/>
                <a:gd name="T9" fmla="*/ 7 h 35"/>
                <a:gd name="T10" fmla="*/ 0 w 64"/>
                <a:gd name="T11" fmla="*/ 0 h 35"/>
                <a:gd name="T12" fmla="*/ 23 w 64"/>
                <a:gd name="T13" fmla="*/ 0 h 35"/>
                <a:gd name="T14" fmla="*/ 23 w 64"/>
                <a:gd name="T15" fmla="*/ 7 h 35"/>
                <a:gd name="T16" fmla="*/ 14 w 64"/>
                <a:gd name="T17" fmla="*/ 7 h 35"/>
                <a:gd name="T18" fmla="*/ 57 w 64"/>
                <a:gd name="T19" fmla="*/ 35 h 35"/>
                <a:gd name="T20" fmla="*/ 57 w 64"/>
                <a:gd name="T21" fmla="*/ 14 h 35"/>
                <a:gd name="T22" fmla="*/ 50 w 64"/>
                <a:gd name="T23" fmla="*/ 28 h 35"/>
                <a:gd name="T24" fmla="*/ 45 w 64"/>
                <a:gd name="T25" fmla="*/ 28 h 35"/>
                <a:gd name="T26" fmla="*/ 38 w 64"/>
                <a:gd name="T27" fmla="*/ 14 h 35"/>
                <a:gd name="T28" fmla="*/ 38 w 64"/>
                <a:gd name="T29" fmla="*/ 35 h 35"/>
                <a:gd name="T30" fmla="*/ 31 w 64"/>
                <a:gd name="T31" fmla="*/ 35 h 35"/>
                <a:gd name="T32" fmla="*/ 31 w 64"/>
                <a:gd name="T33" fmla="*/ 0 h 35"/>
                <a:gd name="T34" fmla="*/ 38 w 64"/>
                <a:gd name="T35" fmla="*/ 0 h 35"/>
                <a:gd name="T36" fmla="*/ 47 w 64"/>
                <a:gd name="T37" fmla="*/ 21 h 35"/>
                <a:gd name="T38" fmla="*/ 57 w 64"/>
                <a:gd name="T39" fmla="*/ 0 h 35"/>
                <a:gd name="T40" fmla="*/ 64 w 64"/>
                <a:gd name="T41" fmla="*/ 0 h 35"/>
                <a:gd name="T42" fmla="*/ 64 w 64"/>
                <a:gd name="T43" fmla="*/ 35 h 35"/>
                <a:gd name="T44" fmla="*/ 57 w 64"/>
                <a:gd name="T4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4" h="35">
                  <a:moveTo>
                    <a:pt x="14" y="7"/>
                  </a:moveTo>
                  <a:lnTo>
                    <a:pt x="14" y="35"/>
                  </a:lnTo>
                  <a:lnTo>
                    <a:pt x="9" y="35"/>
                  </a:lnTo>
                  <a:lnTo>
                    <a:pt x="9" y="7"/>
                  </a:lnTo>
                  <a:lnTo>
                    <a:pt x="0" y="7"/>
                  </a:lnTo>
                  <a:lnTo>
                    <a:pt x="0" y="0"/>
                  </a:lnTo>
                  <a:lnTo>
                    <a:pt x="23" y="0"/>
                  </a:lnTo>
                  <a:lnTo>
                    <a:pt x="23" y="7"/>
                  </a:lnTo>
                  <a:lnTo>
                    <a:pt x="14" y="7"/>
                  </a:lnTo>
                  <a:close/>
                  <a:moveTo>
                    <a:pt x="57" y="35"/>
                  </a:moveTo>
                  <a:lnTo>
                    <a:pt x="57" y="14"/>
                  </a:lnTo>
                  <a:lnTo>
                    <a:pt x="50" y="28"/>
                  </a:lnTo>
                  <a:lnTo>
                    <a:pt x="45" y="28"/>
                  </a:lnTo>
                  <a:lnTo>
                    <a:pt x="38" y="14"/>
                  </a:lnTo>
                  <a:lnTo>
                    <a:pt x="38" y="35"/>
                  </a:lnTo>
                  <a:lnTo>
                    <a:pt x="31" y="35"/>
                  </a:lnTo>
                  <a:lnTo>
                    <a:pt x="31" y="0"/>
                  </a:lnTo>
                  <a:lnTo>
                    <a:pt x="38" y="0"/>
                  </a:lnTo>
                  <a:lnTo>
                    <a:pt x="47" y="21"/>
                  </a:lnTo>
                  <a:lnTo>
                    <a:pt x="57" y="0"/>
                  </a:lnTo>
                  <a:lnTo>
                    <a:pt x="64" y="0"/>
                  </a:lnTo>
                  <a:lnTo>
                    <a:pt x="64" y="35"/>
                  </a:lnTo>
                  <a:lnTo>
                    <a:pt x="57" y="35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7"/>
            <p:cNvSpPr>
              <a:spLocks noEditPoints="1"/>
            </p:cNvSpPr>
            <p:nvPr/>
          </p:nvSpPr>
          <p:spPr bwMode="gray">
            <a:xfrm>
              <a:off x="5591175" y="3467100"/>
              <a:ext cx="1060450" cy="950913"/>
            </a:xfrm>
            <a:custGeom>
              <a:avLst/>
              <a:gdLst>
                <a:gd name="T0" fmla="*/ 282 w 282"/>
                <a:gd name="T1" fmla="*/ 55 h 252"/>
                <a:gd name="T2" fmla="*/ 256 w 282"/>
                <a:gd name="T3" fmla="*/ 70 h 252"/>
                <a:gd name="T4" fmla="*/ 212 w 282"/>
                <a:gd name="T5" fmla="*/ 26 h 252"/>
                <a:gd name="T6" fmla="*/ 227 w 282"/>
                <a:gd name="T7" fmla="*/ 0 h 252"/>
                <a:gd name="T8" fmla="*/ 282 w 282"/>
                <a:gd name="T9" fmla="*/ 55 h 252"/>
                <a:gd name="T10" fmla="*/ 30 w 282"/>
                <a:gd name="T11" fmla="*/ 131 h 252"/>
                <a:gd name="T12" fmla="*/ 0 w 282"/>
                <a:gd name="T13" fmla="*/ 131 h 252"/>
                <a:gd name="T14" fmla="*/ 21 w 282"/>
                <a:gd name="T15" fmla="*/ 207 h 252"/>
                <a:gd name="T16" fmla="*/ 47 w 282"/>
                <a:gd name="T17" fmla="*/ 192 h 252"/>
                <a:gd name="T18" fmla="*/ 30 w 282"/>
                <a:gd name="T19" fmla="*/ 131 h 252"/>
                <a:gd name="T20" fmla="*/ 105 w 282"/>
                <a:gd name="T21" fmla="*/ 51 h 252"/>
                <a:gd name="T22" fmla="*/ 91 w 282"/>
                <a:gd name="T23" fmla="*/ 26 h 252"/>
                <a:gd name="T24" fmla="*/ 30 w 282"/>
                <a:gd name="T25" fmla="*/ 131 h 252"/>
                <a:gd name="T26" fmla="*/ 59 w 282"/>
                <a:gd name="T27" fmla="*/ 131 h 252"/>
                <a:gd name="T28" fmla="*/ 105 w 282"/>
                <a:gd name="T29" fmla="*/ 51 h 252"/>
                <a:gd name="T30" fmla="*/ 71 w 282"/>
                <a:gd name="T31" fmla="*/ 177 h 252"/>
                <a:gd name="T32" fmla="*/ 47 w 282"/>
                <a:gd name="T33" fmla="*/ 192 h 252"/>
                <a:gd name="T34" fmla="*/ 151 w 282"/>
                <a:gd name="T35" fmla="*/ 252 h 252"/>
                <a:gd name="T36" fmla="*/ 151 w 282"/>
                <a:gd name="T37" fmla="*/ 223 h 252"/>
                <a:gd name="T38" fmla="*/ 71 w 282"/>
                <a:gd name="T39" fmla="*/ 177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82" h="252">
                  <a:moveTo>
                    <a:pt x="282" y="55"/>
                  </a:moveTo>
                  <a:cubicBezTo>
                    <a:pt x="256" y="70"/>
                    <a:pt x="256" y="70"/>
                    <a:pt x="256" y="70"/>
                  </a:cubicBezTo>
                  <a:cubicBezTo>
                    <a:pt x="245" y="52"/>
                    <a:pt x="230" y="37"/>
                    <a:pt x="212" y="26"/>
                  </a:cubicBezTo>
                  <a:cubicBezTo>
                    <a:pt x="227" y="0"/>
                    <a:pt x="227" y="0"/>
                    <a:pt x="227" y="0"/>
                  </a:cubicBezTo>
                  <a:cubicBezTo>
                    <a:pt x="250" y="14"/>
                    <a:pt x="269" y="33"/>
                    <a:pt x="282" y="55"/>
                  </a:cubicBezTo>
                  <a:close/>
                  <a:moveTo>
                    <a:pt x="30" y="131"/>
                  </a:moveTo>
                  <a:cubicBezTo>
                    <a:pt x="0" y="131"/>
                    <a:pt x="0" y="131"/>
                    <a:pt x="0" y="131"/>
                  </a:cubicBezTo>
                  <a:cubicBezTo>
                    <a:pt x="0" y="158"/>
                    <a:pt x="8" y="184"/>
                    <a:pt x="21" y="207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36" y="174"/>
                    <a:pt x="30" y="153"/>
                    <a:pt x="30" y="131"/>
                  </a:cubicBezTo>
                  <a:close/>
                  <a:moveTo>
                    <a:pt x="105" y="51"/>
                  </a:moveTo>
                  <a:cubicBezTo>
                    <a:pt x="91" y="26"/>
                    <a:pt x="91" y="26"/>
                    <a:pt x="91" y="26"/>
                  </a:cubicBezTo>
                  <a:cubicBezTo>
                    <a:pt x="54" y="47"/>
                    <a:pt x="30" y="86"/>
                    <a:pt x="30" y="131"/>
                  </a:cubicBezTo>
                  <a:cubicBezTo>
                    <a:pt x="59" y="131"/>
                    <a:pt x="59" y="131"/>
                    <a:pt x="59" y="131"/>
                  </a:cubicBezTo>
                  <a:cubicBezTo>
                    <a:pt x="59" y="97"/>
                    <a:pt x="77" y="67"/>
                    <a:pt x="105" y="51"/>
                  </a:cubicBezTo>
                  <a:close/>
                  <a:moveTo>
                    <a:pt x="71" y="177"/>
                  </a:moveTo>
                  <a:cubicBezTo>
                    <a:pt x="47" y="192"/>
                    <a:pt x="47" y="192"/>
                    <a:pt x="47" y="192"/>
                  </a:cubicBezTo>
                  <a:cubicBezTo>
                    <a:pt x="68" y="228"/>
                    <a:pt x="106" y="252"/>
                    <a:pt x="151" y="252"/>
                  </a:cubicBezTo>
                  <a:cubicBezTo>
                    <a:pt x="151" y="223"/>
                    <a:pt x="151" y="223"/>
                    <a:pt x="151" y="223"/>
                  </a:cubicBezTo>
                  <a:cubicBezTo>
                    <a:pt x="117" y="223"/>
                    <a:pt x="87" y="205"/>
                    <a:pt x="71" y="177"/>
                  </a:cubicBezTo>
                  <a:close/>
                </a:path>
              </a:pathLst>
            </a:custGeom>
            <a:solidFill>
              <a:srgbClr val="ACDAF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8"/>
            <p:cNvSpPr>
              <a:spLocks noEditPoints="1"/>
            </p:cNvSpPr>
            <p:nvPr/>
          </p:nvSpPr>
          <p:spPr bwMode="gray">
            <a:xfrm>
              <a:off x="5591175" y="3390900"/>
              <a:ext cx="854075" cy="1136650"/>
            </a:xfrm>
            <a:custGeom>
              <a:avLst/>
              <a:gdLst>
                <a:gd name="T0" fmla="*/ 21 w 227"/>
                <a:gd name="T1" fmla="*/ 227 h 301"/>
                <a:gd name="T2" fmla="*/ 47 w 227"/>
                <a:gd name="T3" fmla="*/ 212 h 301"/>
                <a:gd name="T4" fmla="*/ 151 w 227"/>
                <a:gd name="T5" fmla="*/ 272 h 301"/>
                <a:gd name="T6" fmla="*/ 212 w 227"/>
                <a:gd name="T7" fmla="*/ 255 h 301"/>
                <a:gd name="T8" fmla="*/ 227 w 227"/>
                <a:gd name="T9" fmla="*/ 281 h 301"/>
                <a:gd name="T10" fmla="*/ 151 w 227"/>
                <a:gd name="T11" fmla="*/ 301 h 301"/>
                <a:gd name="T12" fmla="*/ 21 w 227"/>
                <a:gd name="T13" fmla="*/ 227 h 301"/>
                <a:gd name="T14" fmla="*/ 151 w 227"/>
                <a:gd name="T15" fmla="*/ 30 h 301"/>
                <a:gd name="T16" fmla="*/ 212 w 227"/>
                <a:gd name="T17" fmla="*/ 46 h 301"/>
                <a:gd name="T18" fmla="*/ 227 w 227"/>
                <a:gd name="T19" fmla="*/ 20 h 301"/>
                <a:gd name="T20" fmla="*/ 151 w 227"/>
                <a:gd name="T21" fmla="*/ 0 h 301"/>
                <a:gd name="T22" fmla="*/ 0 w 227"/>
                <a:gd name="T23" fmla="*/ 151 h 301"/>
                <a:gd name="T24" fmla="*/ 30 w 227"/>
                <a:gd name="T25" fmla="*/ 151 h 301"/>
                <a:gd name="T26" fmla="*/ 151 w 227"/>
                <a:gd name="T27" fmla="*/ 3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7" h="301">
                  <a:moveTo>
                    <a:pt x="21" y="227"/>
                  </a:moveTo>
                  <a:cubicBezTo>
                    <a:pt x="47" y="212"/>
                    <a:pt x="47" y="212"/>
                    <a:pt x="47" y="212"/>
                  </a:cubicBezTo>
                  <a:cubicBezTo>
                    <a:pt x="68" y="248"/>
                    <a:pt x="106" y="272"/>
                    <a:pt x="151" y="272"/>
                  </a:cubicBezTo>
                  <a:cubicBezTo>
                    <a:pt x="173" y="272"/>
                    <a:pt x="194" y="266"/>
                    <a:pt x="212" y="255"/>
                  </a:cubicBezTo>
                  <a:cubicBezTo>
                    <a:pt x="227" y="281"/>
                    <a:pt x="227" y="281"/>
                    <a:pt x="227" y="281"/>
                  </a:cubicBezTo>
                  <a:cubicBezTo>
                    <a:pt x="204" y="294"/>
                    <a:pt x="179" y="301"/>
                    <a:pt x="151" y="301"/>
                  </a:cubicBezTo>
                  <a:cubicBezTo>
                    <a:pt x="96" y="301"/>
                    <a:pt x="47" y="271"/>
                    <a:pt x="21" y="227"/>
                  </a:cubicBezTo>
                  <a:close/>
                  <a:moveTo>
                    <a:pt x="151" y="30"/>
                  </a:moveTo>
                  <a:cubicBezTo>
                    <a:pt x="173" y="30"/>
                    <a:pt x="194" y="36"/>
                    <a:pt x="212" y="46"/>
                  </a:cubicBezTo>
                  <a:cubicBezTo>
                    <a:pt x="227" y="20"/>
                    <a:pt x="227" y="20"/>
                    <a:pt x="227" y="20"/>
                  </a:cubicBezTo>
                  <a:cubicBezTo>
                    <a:pt x="205" y="7"/>
                    <a:pt x="179" y="0"/>
                    <a:pt x="151" y="0"/>
                  </a:cubicBezTo>
                  <a:cubicBezTo>
                    <a:pt x="68" y="0"/>
                    <a:pt x="0" y="68"/>
                    <a:pt x="0" y="151"/>
                  </a:cubicBezTo>
                  <a:cubicBezTo>
                    <a:pt x="30" y="151"/>
                    <a:pt x="30" y="151"/>
                    <a:pt x="30" y="151"/>
                  </a:cubicBezTo>
                  <a:cubicBezTo>
                    <a:pt x="30" y="84"/>
                    <a:pt x="84" y="30"/>
                    <a:pt x="151" y="30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9"/>
            <p:cNvSpPr>
              <a:spLocks noEditPoints="1"/>
            </p:cNvSpPr>
            <p:nvPr/>
          </p:nvSpPr>
          <p:spPr bwMode="gray">
            <a:xfrm>
              <a:off x="5811838" y="3609975"/>
              <a:ext cx="915987" cy="698500"/>
            </a:xfrm>
            <a:custGeom>
              <a:avLst/>
              <a:gdLst>
                <a:gd name="T0" fmla="*/ 197 w 243"/>
                <a:gd name="T1" fmla="*/ 32 h 185"/>
                <a:gd name="T2" fmla="*/ 223 w 243"/>
                <a:gd name="T3" fmla="*/ 17 h 185"/>
                <a:gd name="T4" fmla="*/ 243 w 243"/>
                <a:gd name="T5" fmla="*/ 93 h 185"/>
                <a:gd name="T6" fmla="*/ 223 w 243"/>
                <a:gd name="T7" fmla="*/ 168 h 185"/>
                <a:gd name="T8" fmla="*/ 197 w 243"/>
                <a:gd name="T9" fmla="*/ 153 h 185"/>
                <a:gd name="T10" fmla="*/ 213 w 243"/>
                <a:gd name="T11" fmla="*/ 93 h 185"/>
                <a:gd name="T12" fmla="*/ 197 w 243"/>
                <a:gd name="T13" fmla="*/ 32 h 185"/>
                <a:gd name="T14" fmla="*/ 178 w 243"/>
                <a:gd name="T15" fmla="*/ 178 h 185"/>
                <a:gd name="T16" fmla="*/ 158 w 243"/>
                <a:gd name="T17" fmla="*/ 158 h 185"/>
                <a:gd name="T18" fmla="*/ 92 w 243"/>
                <a:gd name="T19" fmla="*/ 185 h 185"/>
                <a:gd name="T20" fmla="*/ 0 w 243"/>
                <a:gd name="T21" fmla="*/ 93 h 185"/>
                <a:gd name="T22" fmla="*/ 92 w 243"/>
                <a:gd name="T23" fmla="*/ 0 h 185"/>
                <a:gd name="T24" fmla="*/ 184 w 243"/>
                <a:gd name="T25" fmla="*/ 93 h 185"/>
                <a:gd name="T26" fmla="*/ 172 w 243"/>
                <a:gd name="T27" fmla="*/ 139 h 185"/>
                <a:gd name="T28" fmla="*/ 197 w 243"/>
                <a:gd name="T29" fmla="*/ 153 h 185"/>
                <a:gd name="T30" fmla="*/ 178 w 243"/>
                <a:gd name="T31" fmla="*/ 178 h 185"/>
                <a:gd name="T32" fmla="*/ 155 w 243"/>
                <a:gd name="T33" fmla="*/ 93 h 185"/>
                <a:gd name="T34" fmla="*/ 92 w 243"/>
                <a:gd name="T35" fmla="*/ 30 h 185"/>
                <a:gd name="T36" fmla="*/ 29 w 243"/>
                <a:gd name="T37" fmla="*/ 93 h 185"/>
                <a:gd name="T38" fmla="*/ 92 w 243"/>
                <a:gd name="T39" fmla="*/ 156 h 185"/>
                <a:gd name="T40" fmla="*/ 155 w 243"/>
                <a:gd name="T41" fmla="*/ 93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43" h="185">
                  <a:moveTo>
                    <a:pt x="197" y="32"/>
                  </a:moveTo>
                  <a:cubicBezTo>
                    <a:pt x="223" y="17"/>
                    <a:pt x="223" y="17"/>
                    <a:pt x="223" y="17"/>
                  </a:cubicBezTo>
                  <a:cubicBezTo>
                    <a:pt x="235" y="40"/>
                    <a:pt x="243" y="65"/>
                    <a:pt x="243" y="93"/>
                  </a:cubicBezTo>
                  <a:cubicBezTo>
                    <a:pt x="243" y="120"/>
                    <a:pt x="235" y="146"/>
                    <a:pt x="223" y="168"/>
                  </a:cubicBezTo>
                  <a:cubicBezTo>
                    <a:pt x="197" y="153"/>
                    <a:pt x="197" y="153"/>
                    <a:pt x="197" y="153"/>
                  </a:cubicBezTo>
                  <a:cubicBezTo>
                    <a:pt x="207" y="135"/>
                    <a:pt x="213" y="115"/>
                    <a:pt x="213" y="93"/>
                  </a:cubicBezTo>
                  <a:cubicBezTo>
                    <a:pt x="213" y="71"/>
                    <a:pt x="207" y="50"/>
                    <a:pt x="197" y="32"/>
                  </a:cubicBezTo>
                  <a:close/>
                  <a:moveTo>
                    <a:pt x="178" y="178"/>
                  </a:moveTo>
                  <a:cubicBezTo>
                    <a:pt x="158" y="158"/>
                    <a:pt x="158" y="158"/>
                    <a:pt x="158" y="158"/>
                  </a:cubicBezTo>
                  <a:cubicBezTo>
                    <a:pt x="141" y="175"/>
                    <a:pt x="118" y="185"/>
                    <a:pt x="92" y="185"/>
                  </a:cubicBezTo>
                  <a:cubicBezTo>
                    <a:pt x="41" y="185"/>
                    <a:pt x="0" y="144"/>
                    <a:pt x="0" y="93"/>
                  </a:cubicBezTo>
                  <a:cubicBezTo>
                    <a:pt x="0" y="42"/>
                    <a:pt x="41" y="0"/>
                    <a:pt x="92" y="0"/>
                  </a:cubicBezTo>
                  <a:cubicBezTo>
                    <a:pt x="143" y="0"/>
                    <a:pt x="184" y="42"/>
                    <a:pt x="184" y="93"/>
                  </a:cubicBezTo>
                  <a:cubicBezTo>
                    <a:pt x="184" y="110"/>
                    <a:pt x="180" y="125"/>
                    <a:pt x="172" y="139"/>
                  </a:cubicBezTo>
                  <a:cubicBezTo>
                    <a:pt x="197" y="153"/>
                    <a:pt x="197" y="153"/>
                    <a:pt x="197" y="153"/>
                  </a:cubicBezTo>
                  <a:cubicBezTo>
                    <a:pt x="192" y="162"/>
                    <a:pt x="185" y="171"/>
                    <a:pt x="178" y="178"/>
                  </a:cubicBezTo>
                  <a:close/>
                  <a:moveTo>
                    <a:pt x="155" y="93"/>
                  </a:moveTo>
                  <a:cubicBezTo>
                    <a:pt x="155" y="58"/>
                    <a:pt x="127" y="30"/>
                    <a:pt x="92" y="30"/>
                  </a:cubicBezTo>
                  <a:cubicBezTo>
                    <a:pt x="57" y="30"/>
                    <a:pt x="29" y="58"/>
                    <a:pt x="29" y="93"/>
                  </a:cubicBezTo>
                  <a:cubicBezTo>
                    <a:pt x="29" y="128"/>
                    <a:pt x="57" y="156"/>
                    <a:pt x="92" y="156"/>
                  </a:cubicBezTo>
                  <a:cubicBezTo>
                    <a:pt x="127" y="156"/>
                    <a:pt x="155" y="128"/>
                    <a:pt x="155" y="93"/>
                  </a:cubicBezTo>
                  <a:close/>
                </a:path>
              </a:pathLst>
            </a:custGeom>
            <a:solidFill>
              <a:srgbClr val="743C9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90" name="Rectangle 89"/>
          <p:cNvSpPr/>
          <p:nvPr/>
        </p:nvSpPr>
        <p:spPr bwMode="gray">
          <a:xfrm>
            <a:off x="1" y="6410036"/>
            <a:ext cx="9144000" cy="447964"/>
          </a:xfrm>
          <a:prstGeom prst="rect">
            <a:avLst/>
          </a:prstGeom>
          <a:solidFill>
            <a:srgbClr val="EBEBE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380866" y="6523141"/>
            <a:ext cx="2789546" cy="230832"/>
          </a:xfrm>
          <a:prstGeom prst="rect">
            <a:avLst/>
          </a:prstGeom>
          <a:ln>
            <a:noFill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900" dirty="0" smtClean="0">
                <a:solidFill>
                  <a:srgbClr val="1A1A1A"/>
                </a:solidFill>
                <a:ea typeface="Arial" charset="0"/>
                <a:cs typeface="Arial" charset="0"/>
              </a:rPr>
              <a:t>Copyright © 2016 </a:t>
            </a:r>
            <a:r>
              <a:rPr lang="en-US" sz="900" dirty="0" err="1" smtClean="0">
                <a:solidFill>
                  <a:srgbClr val="1A1A1A"/>
                </a:solidFill>
                <a:ea typeface="Arial" charset="0"/>
                <a:cs typeface="Arial" charset="0"/>
              </a:rPr>
              <a:t>QuintilesIMS</a:t>
            </a:r>
            <a:r>
              <a:rPr lang="en-US" sz="900" dirty="0" smtClean="0">
                <a:solidFill>
                  <a:srgbClr val="1A1A1A"/>
                </a:solidFill>
                <a:ea typeface="Arial" charset="0"/>
                <a:cs typeface="Arial" charset="0"/>
              </a:rPr>
              <a:t>. All rights reserved.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Content Slide_w/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3"/>
          <p:cNvSpPr>
            <a:spLocks noGrp="1"/>
          </p:cNvSpPr>
          <p:nvPr>
            <p:ph type="dt" sz="half" idx="11"/>
          </p:nvPr>
        </p:nvSpPr>
        <p:spPr>
          <a:xfrm>
            <a:off x="401784" y="6666344"/>
            <a:ext cx="420255" cy="140855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Rectangle 5"/>
          <p:cNvSpPr/>
          <p:nvPr/>
        </p:nvSpPr>
        <p:spPr bwMode="white">
          <a:xfrm>
            <a:off x="332509" y="6650182"/>
            <a:ext cx="5726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234275" y="6473951"/>
            <a:ext cx="630936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R Programming Language - Basic || Day-1 || 18 Sep 2017 </a:t>
            </a:r>
            <a:endParaRPr lang="en-US" dirty="0"/>
          </a:p>
        </p:txBody>
      </p:sp>
      <p:sp>
        <p:nvSpPr>
          <p:cNvPr id="3" name="Slide Number Placeholder 6"/>
          <p:cNvSpPr txBox="1">
            <a:spLocks/>
          </p:cNvSpPr>
          <p:nvPr/>
        </p:nvSpPr>
        <p:spPr>
          <a:xfrm>
            <a:off x="6786565" y="6424614"/>
            <a:ext cx="2133600" cy="228600"/>
          </a:xfrm>
          <a:prstGeom prst="rect">
            <a:avLst/>
          </a:prstGeom>
        </p:spPr>
        <p:txBody>
          <a:bodyPr anchor="ctr"/>
          <a:lstStyle/>
          <a:p>
            <a:pPr algn="r"/>
            <a:fld id="{279D7C8C-B060-4B2B-A3CF-C9EB1D14E66A}" type="slidenum">
              <a:rPr lang="en-US" sz="1000" b="1">
                <a:solidFill>
                  <a:schemeClr val="tx1"/>
                </a:solidFill>
              </a:rPr>
              <a:pPr algn="r"/>
              <a:t>‹#›</a:t>
            </a:fld>
            <a:endParaRPr lang="en-US" sz="1000" b="1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Date Placeholder 3"/>
          <p:cNvSpPr>
            <a:spLocks noGrp="1"/>
          </p:cNvSpPr>
          <p:nvPr>
            <p:ph type="dt" sz="half" idx="12"/>
          </p:nvPr>
        </p:nvSpPr>
        <p:spPr>
          <a:xfrm>
            <a:off x="457200" y="6657110"/>
            <a:ext cx="272473" cy="122381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DFCFB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12526"/>
            <a:ext cx="9144000" cy="1345474"/>
          </a:xfrm>
          <a:prstGeom prst="rect">
            <a:avLst/>
          </a:prstGeom>
        </p:spPr>
      </p:pic>
      <p:sp>
        <p:nvSpPr>
          <p:cNvPr id="60" name="Rectangle 59"/>
          <p:cNvSpPr/>
          <p:nvPr/>
        </p:nvSpPr>
        <p:spPr bwMode="gray">
          <a:xfrm>
            <a:off x="0" y="1"/>
            <a:ext cx="9144000" cy="2042764"/>
          </a:xfrm>
          <a:prstGeom prst="rect">
            <a:avLst/>
          </a:prstGeom>
          <a:solidFill>
            <a:srgbClr val="EBEBE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384810" y="608965"/>
            <a:ext cx="8348472" cy="1325880"/>
          </a:xfrm>
          <a:prstGeom prst="rect">
            <a:avLst/>
          </a:prstGeom>
        </p:spPr>
        <p:txBody>
          <a:bodyPr vert="horz" anchor="b" anchorCtr="0">
            <a:noAutofit/>
          </a:bodyPr>
          <a:lstStyle>
            <a:lvl1pPr>
              <a:defRPr sz="2400" b="1">
                <a:solidFill>
                  <a:schemeClr val="tx2"/>
                </a:solidFill>
                <a:latin typeface="+mj-lt"/>
                <a:cs typeface="Georgia"/>
              </a:defRPr>
            </a:lvl1pPr>
          </a:lstStyle>
          <a:p>
            <a:r>
              <a:rPr lang="en-US" dirty="0" smtClean="0"/>
              <a:t>Divider 24pt Arial Bold Title Case</a:t>
            </a:r>
          </a:p>
        </p:txBody>
      </p:sp>
      <p:sp>
        <p:nvSpPr>
          <p:cNvPr id="16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2826327" y="6473951"/>
            <a:ext cx="571500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R Programming Language - Basic || Day-1 || 18 Sep 2017 </a:t>
            </a:r>
            <a:endParaRPr lang="en-US" dirty="0"/>
          </a:p>
        </p:txBody>
      </p:sp>
      <p:sp>
        <p:nvSpPr>
          <p:cNvPr id="64" name="Slide Number Placeholder 6"/>
          <p:cNvSpPr txBox="1">
            <a:spLocks/>
          </p:cNvSpPr>
          <p:nvPr/>
        </p:nvSpPr>
        <p:spPr>
          <a:xfrm>
            <a:off x="6786565" y="6480030"/>
            <a:ext cx="2133600" cy="228600"/>
          </a:xfrm>
          <a:prstGeom prst="rect">
            <a:avLst/>
          </a:prstGeom>
        </p:spPr>
        <p:txBody>
          <a:bodyPr anchor="ctr"/>
          <a:lstStyle/>
          <a:p>
            <a:pPr algn="r"/>
            <a:fld id="{279D7C8C-B060-4B2B-A3CF-C9EB1D14E66A}" type="slidenum">
              <a:rPr lang="en-US" sz="1000" b="1">
                <a:solidFill>
                  <a:schemeClr val="tx1"/>
                </a:solidFill>
              </a:rPr>
              <a:pPr algn="r"/>
              <a:t>‹#›</a:t>
            </a:fld>
            <a:endParaRPr lang="en-US" sz="1000" b="1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ou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71154"/>
            <a:ext cx="9144000" cy="4715691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234275" y="6473951"/>
            <a:ext cx="6309360" cy="384048"/>
          </a:xfrm>
          <a:prstGeom prst="rect">
            <a:avLst/>
          </a:prstGeom>
          <a:noFill/>
        </p:spPr>
        <p:txBody>
          <a:bodyPr tIns="0">
            <a:noAutofit/>
          </a:bodyPr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R Programming Language - Basic || Day-1 || 18 Sep 2017 </a:t>
            </a:r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643935" y="1790723"/>
            <a:ext cx="7848600" cy="387116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lnSpc>
                <a:spcPct val="110000"/>
              </a:lnSpc>
              <a:defRPr sz="2400" i="0" baseline="0">
                <a:solidFill>
                  <a:schemeClr val="bg1"/>
                </a:solidFill>
                <a:latin typeface="+mj-lt"/>
                <a:cs typeface="Georgia"/>
              </a:defRPr>
            </a:lvl1pPr>
          </a:lstStyle>
          <a:p>
            <a:r>
              <a:rPr lang="en-US" dirty="0" smtClean="0"/>
              <a:t>Thought slide 24pt Arial sentence case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2"/>
          </p:nvPr>
        </p:nvSpPr>
        <p:spPr>
          <a:xfrm>
            <a:off x="494145" y="6670965"/>
            <a:ext cx="272473" cy="168563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73378" y="6674938"/>
            <a:ext cx="298037" cy="146114"/>
          </a:xfrm>
          <a:prstGeom prst="rect">
            <a:avLst/>
          </a:prstGeom>
        </p:spPr>
        <p:txBody>
          <a:bodyPr tIns="0"/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12"/>
          </p:nvPr>
        </p:nvSpPr>
        <p:spPr>
          <a:xfrm>
            <a:off x="466436" y="6670964"/>
            <a:ext cx="318655" cy="168564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fld id="{604969FA-BF2E-4DB8-9060-4CE805E74307}" type="datetimeFigureOut">
              <a:rPr lang="en-US" smtClean="0"/>
              <a:pPr/>
              <a:t>9/17/2017</a:t>
            </a:fld>
            <a:endParaRPr lang="en-US" dirty="0"/>
          </a:p>
        </p:txBody>
      </p:sp>
      <p:sp>
        <p:nvSpPr>
          <p:cNvPr id="53" name="Rectangle 52"/>
          <p:cNvSpPr/>
          <p:nvPr/>
        </p:nvSpPr>
        <p:spPr bwMode="white">
          <a:xfrm>
            <a:off x="230909" y="6650182"/>
            <a:ext cx="13854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Alternate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192172"/>
            <a:ext cx="9144000" cy="266582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4048" y="1961343"/>
            <a:ext cx="8348472" cy="896112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algn="l">
              <a:defRPr sz="2400" b="1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Headlines are 24pt Arial Bold Title Cas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5763" y="2879914"/>
            <a:ext cx="8348472" cy="40011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2000" i="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Subheads are 20pt Arial sentence cas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384048" y="3555711"/>
            <a:ext cx="4178808" cy="697627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spcBef>
                <a:spcPts val="200"/>
              </a:spcBef>
              <a:buNone/>
              <a:defRPr sz="1200" i="0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Author First Name Last Name</a:t>
            </a:r>
          </a:p>
          <a:p>
            <a:pPr lvl="0"/>
            <a:r>
              <a:rPr lang="en-US" dirty="0" smtClean="0"/>
              <a:t>Title</a:t>
            </a:r>
          </a:p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grpSp>
        <p:nvGrpSpPr>
          <p:cNvPr id="83" name="Group 82"/>
          <p:cNvGrpSpPr/>
          <p:nvPr/>
        </p:nvGrpSpPr>
        <p:grpSpPr bwMode="gray">
          <a:xfrm>
            <a:off x="6449147" y="481445"/>
            <a:ext cx="2316162" cy="1459409"/>
            <a:chOff x="4795838" y="3390900"/>
            <a:chExt cx="2763837" cy="1741488"/>
          </a:xfrm>
        </p:grpSpPr>
        <p:sp>
          <p:nvSpPr>
            <p:cNvPr id="84" name="Freeform 5"/>
            <p:cNvSpPr>
              <a:spLocks noEditPoints="1"/>
            </p:cNvSpPr>
            <p:nvPr/>
          </p:nvSpPr>
          <p:spPr bwMode="gray">
            <a:xfrm>
              <a:off x="4795838" y="4721225"/>
              <a:ext cx="2632075" cy="411163"/>
            </a:xfrm>
            <a:custGeom>
              <a:avLst/>
              <a:gdLst>
                <a:gd name="T0" fmla="*/ 36 w 699"/>
                <a:gd name="T1" fmla="*/ 104 h 109"/>
                <a:gd name="T2" fmla="*/ 10 w 699"/>
                <a:gd name="T3" fmla="*/ 11 h 109"/>
                <a:gd name="T4" fmla="*/ 72 w 699"/>
                <a:gd name="T5" fmla="*/ 52 h 109"/>
                <a:gd name="T6" fmla="*/ 69 w 699"/>
                <a:gd name="T7" fmla="*/ 109 h 109"/>
                <a:gd name="T8" fmla="*/ 12 w 699"/>
                <a:gd name="T9" fmla="*/ 52 h 109"/>
                <a:gd name="T10" fmla="*/ 49 w 699"/>
                <a:gd name="T11" fmla="*/ 89 h 109"/>
                <a:gd name="T12" fmla="*/ 56 w 699"/>
                <a:gd name="T13" fmla="*/ 81 h 109"/>
                <a:gd name="T14" fmla="*/ 36 w 699"/>
                <a:gd name="T15" fmla="*/ 11 h 109"/>
                <a:gd name="T16" fmla="*/ 86 w 699"/>
                <a:gd name="T17" fmla="*/ 78 h 109"/>
                <a:gd name="T18" fmla="*/ 98 w 699"/>
                <a:gd name="T19" fmla="*/ 76 h 109"/>
                <a:gd name="T20" fmla="*/ 131 w 699"/>
                <a:gd name="T21" fmla="*/ 32 h 109"/>
                <a:gd name="T22" fmla="*/ 131 w 699"/>
                <a:gd name="T23" fmla="*/ 104 h 109"/>
                <a:gd name="T24" fmla="*/ 171 w 699"/>
                <a:gd name="T25" fmla="*/ 104 h 109"/>
                <a:gd name="T26" fmla="*/ 159 w 699"/>
                <a:gd name="T27" fmla="*/ 32 h 109"/>
                <a:gd name="T28" fmla="*/ 171 w 699"/>
                <a:gd name="T29" fmla="*/ 104 h 109"/>
                <a:gd name="T30" fmla="*/ 159 w 699"/>
                <a:gd name="T31" fmla="*/ 1 h 109"/>
                <a:gd name="T32" fmla="*/ 244 w 699"/>
                <a:gd name="T33" fmla="*/ 104 h 109"/>
                <a:gd name="T34" fmla="*/ 216 w 699"/>
                <a:gd name="T35" fmla="*/ 42 h 109"/>
                <a:gd name="T36" fmla="*/ 188 w 699"/>
                <a:gd name="T37" fmla="*/ 104 h 109"/>
                <a:gd name="T38" fmla="*/ 200 w 699"/>
                <a:gd name="T39" fmla="*/ 39 h 109"/>
                <a:gd name="T40" fmla="*/ 244 w 699"/>
                <a:gd name="T41" fmla="*/ 58 h 109"/>
                <a:gd name="T42" fmla="*/ 300 w 699"/>
                <a:gd name="T43" fmla="*/ 104 h 109"/>
                <a:gd name="T44" fmla="*/ 312 w 699"/>
                <a:gd name="T45" fmla="*/ 32 h 109"/>
                <a:gd name="T46" fmla="*/ 313 w 699"/>
                <a:gd name="T47" fmla="*/ 14 h 109"/>
                <a:gd name="T48" fmla="*/ 313 w 699"/>
                <a:gd name="T49" fmla="*/ 1 h 109"/>
                <a:gd name="T50" fmla="*/ 358 w 699"/>
                <a:gd name="T51" fmla="*/ 68 h 109"/>
                <a:gd name="T52" fmla="*/ 417 w 699"/>
                <a:gd name="T53" fmla="*/ 71 h 109"/>
                <a:gd name="T54" fmla="*/ 408 w 699"/>
                <a:gd name="T55" fmla="*/ 86 h 109"/>
                <a:gd name="T56" fmla="*/ 416 w 699"/>
                <a:gd name="T57" fmla="*/ 93 h 109"/>
                <a:gd name="T58" fmla="*/ 406 w 699"/>
                <a:gd name="T59" fmla="*/ 62 h 109"/>
                <a:gd name="T60" fmla="*/ 372 w 699"/>
                <a:gd name="T61" fmla="*/ 52 h 109"/>
                <a:gd name="T62" fmla="*/ 424 w 699"/>
                <a:gd name="T63" fmla="*/ 94 h 109"/>
                <a:gd name="T64" fmla="*/ 432 w 699"/>
                <a:gd name="T65" fmla="*/ 86 h 109"/>
                <a:gd name="T66" fmla="*/ 460 w 699"/>
                <a:gd name="T67" fmla="*/ 73 h 109"/>
                <a:gd name="T68" fmla="*/ 453 w 699"/>
                <a:gd name="T69" fmla="*/ 32 h 109"/>
                <a:gd name="T70" fmla="*/ 472 w 699"/>
                <a:gd name="T71" fmla="*/ 47 h 109"/>
                <a:gd name="T72" fmla="*/ 438 w 699"/>
                <a:gd name="T73" fmla="*/ 52 h 109"/>
                <a:gd name="T74" fmla="*/ 482 w 699"/>
                <a:gd name="T75" fmla="*/ 82 h 109"/>
                <a:gd name="T76" fmla="*/ 495 w 699"/>
                <a:gd name="T77" fmla="*/ 104 h 109"/>
                <a:gd name="T78" fmla="*/ 507 w 699"/>
                <a:gd name="T79" fmla="*/ 1 h 109"/>
                <a:gd name="T80" fmla="*/ 616 w 699"/>
                <a:gd name="T81" fmla="*/ 104 h 109"/>
                <a:gd name="T82" fmla="*/ 577 w 699"/>
                <a:gd name="T83" fmla="*/ 88 h 109"/>
                <a:gd name="T84" fmla="*/ 540 w 699"/>
                <a:gd name="T85" fmla="*/ 104 h 109"/>
                <a:gd name="T86" fmla="*/ 540 w 699"/>
                <a:gd name="T87" fmla="*/ 1 h 109"/>
                <a:gd name="T88" fmla="*/ 604 w 699"/>
                <a:gd name="T89" fmla="*/ 1 h 109"/>
                <a:gd name="T90" fmla="*/ 663 w 699"/>
                <a:gd name="T91" fmla="*/ 104 h 109"/>
                <a:gd name="T92" fmla="*/ 636 w 699"/>
                <a:gd name="T93" fmla="*/ 82 h 109"/>
                <a:gd name="T94" fmla="*/ 687 w 699"/>
                <a:gd name="T95" fmla="*/ 75 h 109"/>
                <a:gd name="T96" fmla="*/ 658 w 699"/>
                <a:gd name="T97" fmla="*/ 57 h 109"/>
                <a:gd name="T98" fmla="*/ 664 w 699"/>
                <a:gd name="T99" fmla="*/ 0 h 109"/>
                <a:gd name="T100" fmla="*/ 687 w 699"/>
                <a:gd name="T101" fmla="*/ 20 h 109"/>
                <a:gd name="T102" fmla="*/ 643 w 699"/>
                <a:gd name="T103" fmla="*/ 29 h 109"/>
                <a:gd name="T104" fmla="*/ 671 w 699"/>
                <a:gd name="T105" fmla="*/ 47 h 109"/>
                <a:gd name="T106" fmla="*/ 663 w 699"/>
                <a:gd name="T107" fmla="*/ 104 h 109"/>
                <a:gd name="T108" fmla="*/ 262 w 699"/>
                <a:gd name="T109" fmla="*/ 84 h 109"/>
                <a:gd name="T110" fmla="*/ 253 w 699"/>
                <a:gd name="T111" fmla="*/ 32 h 109"/>
                <a:gd name="T112" fmla="*/ 274 w 699"/>
                <a:gd name="T113" fmla="*/ 11 h 109"/>
                <a:gd name="T114" fmla="*/ 289 w 699"/>
                <a:gd name="T115" fmla="*/ 42 h 109"/>
                <a:gd name="T116" fmla="*/ 283 w 699"/>
                <a:gd name="T117" fmla="*/ 93 h 109"/>
                <a:gd name="T118" fmla="*/ 283 w 699"/>
                <a:gd name="T119" fmla="*/ 104 h 109"/>
                <a:gd name="T120" fmla="*/ 329 w 699"/>
                <a:gd name="T121" fmla="*/ 84 h 109"/>
                <a:gd name="T122" fmla="*/ 340 w 699"/>
                <a:gd name="T123" fmla="*/ 84 h 109"/>
                <a:gd name="T124" fmla="*/ 350 w 699"/>
                <a:gd name="T125" fmla="*/ 9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99" h="109">
                  <a:moveTo>
                    <a:pt x="69" y="109"/>
                  </a:moveTo>
                  <a:cubicBezTo>
                    <a:pt x="58" y="98"/>
                    <a:pt x="58" y="98"/>
                    <a:pt x="58" y="98"/>
                  </a:cubicBezTo>
                  <a:cubicBezTo>
                    <a:pt x="52" y="102"/>
                    <a:pt x="44" y="104"/>
                    <a:pt x="36" y="104"/>
                  </a:cubicBezTo>
                  <a:cubicBezTo>
                    <a:pt x="26" y="104"/>
                    <a:pt x="17" y="101"/>
                    <a:pt x="10" y="94"/>
                  </a:cubicBezTo>
                  <a:cubicBezTo>
                    <a:pt x="0" y="84"/>
                    <a:pt x="0" y="75"/>
                    <a:pt x="0" y="52"/>
                  </a:cubicBezTo>
                  <a:cubicBezTo>
                    <a:pt x="0" y="30"/>
                    <a:pt x="0" y="20"/>
                    <a:pt x="10" y="11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6" y="0"/>
                    <a:pt x="55" y="4"/>
                    <a:pt x="62" y="11"/>
                  </a:cubicBezTo>
                  <a:cubicBezTo>
                    <a:pt x="71" y="20"/>
                    <a:pt x="72" y="29"/>
                    <a:pt x="72" y="52"/>
                  </a:cubicBezTo>
                  <a:cubicBezTo>
                    <a:pt x="72" y="72"/>
                    <a:pt x="72" y="81"/>
                    <a:pt x="65" y="90"/>
                  </a:cubicBezTo>
                  <a:cubicBezTo>
                    <a:pt x="76" y="101"/>
                    <a:pt x="76" y="101"/>
                    <a:pt x="76" y="101"/>
                  </a:cubicBezTo>
                  <a:lnTo>
                    <a:pt x="69" y="109"/>
                  </a:lnTo>
                  <a:close/>
                  <a:moveTo>
                    <a:pt x="36" y="11"/>
                  </a:moveTo>
                  <a:cubicBezTo>
                    <a:pt x="29" y="11"/>
                    <a:pt x="23" y="14"/>
                    <a:pt x="19" y="18"/>
                  </a:cubicBezTo>
                  <a:cubicBezTo>
                    <a:pt x="13" y="25"/>
                    <a:pt x="12" y="31"/>
                    <a:pt x="12" y="52"/>
                  </a:cubicBezTo>
                  <a:cubicBezTo>
                    <a:pt x="12" y="74"/>
                    <a:pt x="13" y="80"/>
                    <a:pt x="19" y="86"/>
                  </a:cubicBezTo>
                  <a:cubicBezTo>
                    <a:pt x="23" y="91"/>
                    <a:pt x="29" y="93"/>
                    <a:pt x="36" y="93"/>
                  </a:cubicBezTo>
                  <a:cubicBezTo>
                    <a:pt x="41" y="93"/>
                    <a:pt x="46" y="92"/>
                    <a:pt x="49" y="89"/>
                  </a:cubicBezTo>
                  <a:cubicBezTo>
                    <a:pt x="37" y="76"/>
                    <a:pt x="37" y="76"/>
                    <a:pt x="37" y="76"/>
                  </a:cubicBezTo>
                  <a:cubicBezTo>
                    <a:pt x="44" y="69"/>
                    <a:pt x="44" y="69"/>
                    <a:pt x="44" y="69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59" y="75"/>
                    <a:pt x="60" y="67"/>
                    <a:pt x="60" y="52"/>
                  </a:cubicBezTo>
                  <a:cubicBezTo>
                    <a:pt x="60" y="31"/>
                    <a:pt x="59" y="25"/>
                    <a:pt x="53" y="18"/>
                  </a:cubicBezTo>
                  <a:cubicBezTo>
                    <a:pt x="49" y="14"/>
                    <a:pt x="43" y="11"/>
                    <a:pt x="36" y="11"/>
                  </a:cubicBezTo>
                  <a:close/>
                  <a:moveTo>
                    <a:pt x="112" y="104"/>
                  </a:moveTo>
                  <a:cubicBezTo>
                    <a:pt x="104" y="104"/>
                    <a:pt x="98" y="102"/>
                    <a:pt x="93" y="98"/>
                  </a:cubicBezTo>
                  <a:cubicBezTo>
                    <a:pt x="88" y="93"/>
                    <a:pt x="86" y="86"/>
                    <a:pt x="86" y="78"/>
                  </a:cubicBezTo>
                  <a:cubicBezTo>
                    <a:pt x="86" y="32"/>
                    <a:pt x="86" y="32"/>
                    <a:pt x="86" y="32"/>
                  </a:cubicBezTo>
                  <a:cubicBezTo>
                    <a:pt x="98" y="32"/>
                    <a:pt x="98" y="32"/>
                    <a:pt x="98" y="32"/>
                  </a:cubicBezTo>
                  <a:cubicBezTo>
                    <a:pt x="98" y="76"/>
                    <a:pt x="98" y="76"/>
                    <a:pt x="98" y="76"/>
                  </a:cubicBezTo>
                  <a:cubicBezTo>
                    <a:pt x="98" y="88"/>
                    <a:pt x="104" y="94"/>
                    <a:pt x="114" y="94"/>
                  </a:cubicBezTo>
                  <a:cubicBezTo>
                    <a:pt x="125" y="94"/>
                    <a:pt x="131" y="87"/>
                    <a:pt x="131" y="76"/>
                  </a:cubicBezTo>
                  <a:cubicBezTo>
                    <a:pt x="131" y="32"/>
                    <a:pt x="131" y="32"/>
                    <a:pt x="131" y="32"/>
                  </a:cubicBezTo>
                  <a:cubicBezTo>
                    <a:pt x="142" y="32"/>
                    <a:pt x="142" y="32"/>
                    <a:pt x="142" y="32"/>
                  </a:cubicBezTo>
                  <a:cubicBezTo>
                    <a:pt x="142" y="104"/>
                    <a:pt x="142" y="104"/>
                    <a:pt x="142" y="104"/>
                  </a:cubicBezTo>
                  <a:cubicBezTo>
                    <a:pt x="131" y="104"/>
                    <a:pt x="131" y="104"/>
                    <a:pt x="131" y="104"/>
                  </a:cubicBezTo>
                  <a:cubicBezTo>
                    <a:pt x="131" y="97"/>
                    <a:pt x="131" y="97"/>
                    <a:pt x="131" y="97"/>
                  </a:cubicBezTo>
                  <a:cubicBezTo>
                    <a:pt x="126" y="102"/>
                    <a:pt x="119" y="104"/>
                    <a:pt x="112" y="104"/>
                  </a:cubicBezTo>
                  <a:close/>
                  <a:moveTo>
                    <a:pt x="171" y="104"/>
                  </a:moveTo>
                  <a:cubicBezTo>
                    <a:pt x="159" y="104"/>
                    <a:pt x="159" y="104"/>
                    <a:pt x="159" y="104"/>
                  </a:cubicBezTo>
                  <a:cubicBezTo>
                    <a:pt x="159" y="66"/>
                    <a:pt x="159" y="66"/>
                    <a:pt x="159" y="66"/>
                  </a:cubicBezTo>
                  <a:cubicBezTo>
                    <a:pt x="159" y="32"/>
                    <a:pt x="159" y="32"/>
                    <a:pt x="159" y="32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171" y="65"/>
                    <a:pt x="171" y="65"/>
                    <a:pt x="171" y="65"/>
                  </a:cubicBezTo>
                  <a:lnTo>
                    <a:pt x="171" y="104"/>
                  </a:lnTo>
                  <a:close/>
                  <a:moveTo>
                    <a:pt x="172" y="14"/>
                  </a:moveTo>
                  <a:cubicBezTo>
                    <a:pt x="159" y="14"/>
                    <a:pt x="159" y="14"/>
                    <a:pt x="159" y="14"/>
                  </a:cubicBezTo>
                  <a:cubicBezTo>
                    <a:pt x="159" y="1"/>
                    <a:pt x="159" y="1"/>
                    <a:pt x="159" y="1"/>
                  </a:cubicBezTo>
                  <a:cubicBezTo>
                    <a:pt x="172" y="1"/>
                    <a:pt x="172" y="1"/>
                    <a:pt x="172" y="1"/>
                  </a:cubicBezTo>
                  <a:lnTo>
                    <a:pt x="172" y="14"/>
                  </a:lnTo>
                  <a:close/>
                  <a:moveTo>
                    <a:pt x="244" y="104"/>
                  </a:moveTo>
                  <a:cubicBezTo>
                    <a:pt x="233" y="104"/>
                    <a:pt x="233" y="104"/>
                    <a:pt x="233" y="104"/>
                  </a:cubicBezTo>
                  <a:cubicBezTo>
                    <a:pt x="233" y="60"/>
                    <a:pt x="233" y="60"/>
                    <a:pt x="233" y="60"/>
                  </a:cubicBezTo>
                  <a:cubicBezTo>
                    <a:pt x="233" y="48"/>
                    <a:pt x="227" y="42"/>
                    <a:pt x="216" y="42"/>
                  </a:cubicBezTo>
                  <a:cubicBezTo>
                    <a:pt x="206" y="42"/>
                    <a:pt x="200" y="49"/>
                    <a:pt x="200" y="60"/>
                  </a:cubicBezTo>
                  <a:cubicBezTo>
                    <a:pt x="200" y="104"/>
                    <a:pt x="200" y="104"/>
                    <a:pt x="200" y="104"/>
                  </a:cubicBezTo>
                  <a:cubicBezTo>
                    <a:pt x="188" y="104"/>
                    <a:pt x="188" y="104"/>
                    <a:pt x="188" y="104"/>
                  </a:cubicBezTo>
                  <a:cubicBezTo>
                    <a:pt x="188" y="32"/>
                    <a:pt x="188" y="32"/>
                    <a:pt x="188" y="32"/>
                  </a:cubicBezTo>
                  <a:cubicBezTo>
                    <a:pt x="200" y="32"/>
                    <a:pt x="200" y="32"/>
                    <a:pt x="200" y="32"/>
                  </a:cubicBezTo>
                  <a:cubicBezTo>
                    <a:pt x="200" y="39"/>
                    <a:pt x="200" y="39"/>
                    <a:pt x="200" y="39"/>
                  </a:cubicBezTo>
                  <a:cubicBezTo>
                    <a:pt x="205" y="34"/>
                    <a:pt x="211" y="32"/>
                    <a:pt x="218" y="32"/>
                  </a:cubicBezTo>
                  <a:cubicBezTo>
                    <a:pt x="226" y="32"/>
                    <a:pt x="232" y="34"/>
                    <a:pt x="237" y="38"/>
                  </a:cubicBezTo>
                  <a:cubicBezTo>
                    <a:pt x="242" y="43"/>
                    <a:pt x="244" y="50"/>
                    <a:pt x="244" y="58"/>
                  </a:cubicBezTo>
                  <a:lnTo>
                    <a:pt x="244" y="104"/>
                  </a:lnTo>
                  <a:close/>
                  <a:moveTo>
                    <a:pt x="312" y="104"/>
                  </a:moveTo>
                  <a:cubicBezTo>
                    <a:pt x="300" y="104"/>
                    <a:pt x="300" y="104"/>
                    <a:pt x="300" y="104"/>
                  </a:cubicBezTo>
                  <a:cubicBezTo>
                    <a:pt x="300" y="65"/>
                    <a:pt x="300" y="65"/>
                    <a:pt x="300" y="65"/>
                  </a:cubicBezTo>
                  <a:cubicBezTo>
                    <a:pt x="300" y="32"/>
                    <a:pt x="300" y="32"/>
                    <a:pt x="300" y="32"/>
                  </a:cubicBezTo>
                  <a:cubicBezTo>
                    <a:pt x="312" y="32"/>
                    <a:pt x="312" y="32"/>
                    <a:pt x="312" y="32"/>
                  </a:cubicBezTo>
                  <a:cubicBezTo>
                    <a:pt x="312" y="65"/>
                    <a:pt x="312" y="65"/>
                    <a:pt x="312" y="65"/>
                  </a:cubicBezTo>
                  <a:lnTo>
                    <a:pt x="312" y="104"/>
                  </a:lnTo>
                  <a:close/>
                  <a:moveTo>
                    <a:pt x="313" y="14"/>
                  </a:moveTo>
                  <a:cubicBezTo>
                    <a:pt x="300" y="14"/>
                    <a:pt x="300" y="14"/>
                    <a:pt x="300" y="14"/>
                  </a:cubicBezTo>
                  <a:cubicBezTo>
                    <a:pt x="300" y="1"/>
                    <a:pt x="300" y="1"/>
                    <a:pt x="300" y="1"/>
                  </a:cubicBezTo>
                  <a:cubicBezTo>
                    <a:pt x="313" y="1"/>
                    <a:pt x="313" y="1"/>
                    <a:pt x="313" y="1"/>
                  </a:cubicBezTo>
                  <a:lnTo>
                    <a:pt x="313" y="14"/>
                  </a:lnTo>
                  <a:close/>
                  <a:moveTo>
                    <a:pt x="390" y="104"/>
                  </a:moveTo>
                  <a:cubicBezTo>
                    <a:pt x="369" y="104"/>
                    <a:pt x="358" y="91"/>
                    <a:pt x="358" y="68"/>
                  </a:cubicBezTo>
                  <a:cubicBezTo>
                    <a:pt x="358" y="45"/>
                    <a:pt x="369" y="32"/>
                    <a:pt x="388" y="32"/>
                  </a:cubicBezTo>
                  <a:cubicBezTo>
                    <a:pt x="406" y="32"/>
                    <a:pt x="417" y="44"/>
                    <a:pt x="417" y="66"/>
                  </a:cubicBezTo>
                  <a:cubicBezTo>
                    <a:pt x="417" y="71"/>
                    <a:pt x="417" y="71"/>
                    <a:pt x="417" y="71"/>
                  </a:cubicBezTo>
                  <a:cubicBezTo>
                    <a:pt x="370" y="71"/>
                    <a:pt x="370" y="71"/>
                    <a:pt x="370" y="71"/>
                  </a:cubicBezTo>
                  <a:cubicBezTo>
                    <a:pt x="370" y="86"/>
                    <a:pt x="377" y="94"/>
                    <a:pt x="390" y="94"/>
                  </a:cubicBezTo>
                  <a:cubicBezTo>
                    <a:pt x="397" y="94"/>
                    <a:pt x="402" y="92"/>
                    <a:pt x="408" y="86"/>
                  </a:cubicBezTo>
                  <a:cubicBezTo>
                    <a:pt x="408" y="86"/>
                    <a:pt x="408" y="86"/>
                    <a:pt x="408" y="86"/>
                  </a:cubicBezTo>
                  <a:cubicBezTo>
                    <a:pt x="416" y="93"/>
                    <a:pt x="416" y="93"/>
                    <a:pt x="416" y="93"/>
                  </a:cubicBezTo>
                  <a:cubicBezTo>
                    <a:pt x="416" y="93"/>
                    <a:pt x="416" y="93"/>
                    <a:pt x="416" y="93"/>
                  </a:cubicBezTo>
                  <a:cubicBezTo>
                    <a:pt x="409" y="100"/>
                    <a:pt x="402" y="104"/>
                    <a:pt x="390" y="104"/>
                  </a:cubicBezTo>
                  <a:close/>
                  <a:moveTo>
                    <a:pt x="370" y="62"/>
                  </a:moveTo>
                  <a:cubicBezTo>
                    <a:pt x="406" y="62"/>
                    <a:pt x="406" y="62"/>
                    <a:pt x="406" y="62"/>
                  </a:cubicBezTo>
                  <a:cubicBezTo>
                    <a:pt x="405" y="57"/>
                    <a:pt x="405" y="55"/>
                    <a:pt x="403" y="52"/>
                  </a:cubicBezTo>
                  <a:cubicBezTo>
                    <a:pt x="400" y="45"/>
                    <a:pt x="395" y="42"/>
                    <a:pt x="388" y="42"/>
                  </a:cubicBezTo>
                  <a:cubicBezTo>
                    <a:pt x="381" y="42"/>
                    <a:pt x="375" y="45"/>
                    <a:pt x="372" y="52"/>
                  </a:cubicBezTo>
                  <a:cubicBezTo>
                    <a:pt x="371" y="55"/>
                    <a:pt x="370" y="57"/>
                    <a:pt x="370" y="62"/>
                  </a:cubicBezTo>
                  <a:close/>
                  <a:moveTo>
                    <a:pt x="453" y="104"/>
                  </a:moveTo>
                  <a:cubicBezTo>
                    <a:pt x="440" y="104"/>
                    <a:pt x="431" y="101"/>
                    <a:pt x="424" y="94"/>
                  </a:cubicBezTo>
                  <a:cubicBezTo>
                    <a:pt x="423" y="94"/>
                    <a:pt x="423" y="94"/>
                    <a:pt x="423" y="94"/>
                  </a:cubicBezTo>
                  <a:cubicBezTo>
                    <a:pt x="431" y="86"/>
                    <a:pt x="431" y="86"/>
                    <a:pt x="431" y="86"/>
                  </a:cubicBezTo>
                  <a:cubicBezTo>
                    <a:pt x="432" y="86"/>
                    <a:pt x="432" y="86"/>
                    <a:pt x="432" y="86"/>
                  </a:cubicBezTo>
                  <a:cubicBezTo>
                    <a:pt x="437" y="92"/>
                    <a:pt x="444" y="94"/>
                    <a:pt x="453" y="94"/>
                  </a:cubicBezTo>
                  <a:cubicBezTo>
                    <a:pt x="459" y="94"/>
                    <a:pt x="471" y="93"/>
                    <a:pt x="471" y="83"/>
                  </a:cubicBezTo>
                  <a:cubicBezTo>
                    <a:pt x="471" y="77"/>
                    <a:pt x="467" y="74"/>
                    <a:pt x="460" y="73"/>
                  </a:cubicBezTo>
                  <a:cubicBezTo>
                    <a:pt x="448" y="72"/>
                    <a:pt x="448" y="72"/>
                    <a:pt x="448" y="72"/>
                  </a:cubicBezTo>
                  <a:cubicBezTo>
                    <a:pt x="434" y="71"/>
                    <a:pt x="427" y="64"/>
                    <a:pt x="427" y="53"/>
                  </a:cubicBezTo>
                  <a:cubicBezTo>
                    <a:pt x="427" y="40"/>
                    <a:pt x="437" y="32"/>
                    <a:pt x="453" y="32"/>
                  </a:cubicBezTo>
                  <a:cubicBezTo>
                    <a:pt x="464" y="32"/>
                    <a:pt x="472" y="34"/>
                    <a:pt x="479" y="39"/>
                  </a:cubicBezTo>
                  <a:cubicBezTo>
                    <a:pt x="479" y="40"/>
                    <a:pt x="479" y="40"/>
                    <a:pt x="479" y="40"/>
                  </a:cubicBezTo>
                  <a:cubicBezTo>
                    <a:pt x="472" y="47"/>
                    <a:pt x="472" y="47"/>
                    <a:pt x="472" y="47"/>
                  </a:cubicBezTo>
                  <a:cubicBezTo>
                    <a:pt x="471" y="47"/>
                    <a:pt x="471" y="47"/>
                    <a:pt x="471" y="47"/>
                  </a:cubicBezTo>
                  <a:cubicBezTo>
                    <a:pt x="466" y="43"/>
                    <a:pt x="460" y="42"/>
                    <a:pt x="453" y="42"/>
                  </a:cubicBezTo>
                  <a:cubicBezTo>
                    <a:pt x="443" y="42"/>
                    <a:pt x="438" y="45"/>
                    <a:pt x="438" y="52"/>
                  </a:cubicBezTo>
                  <a:cubicBezTo>
                    <a:pt x="438" y="58"/>
                    <a:pt x="442" y="61"/>
                    <a:pt x="450" y="62"/>
                  </a:cubicBezTo>
                  <a:cubicBezTo>
                    <a:pt x="461" y="63"/>
                    <a:pt x="461" y="63"/>
                    <a:pt x="461" y="63"/>
                  </a:cubicBezTo>
                  <a:cubicBezTo>
                    <a:pt x="470" y="64"/>
                    <a:pt x="482" y="67"/>
                    <a:pt x="482" y="82"/>
                  </a:cubicBezTo>
                  <a:cubicBezTo>
                    <a:pt x="482" y="96"/>
                    <a:pt x="471" y="104"/>
                    <a:pt x="453" y="104"/>
                  </a:cubicBezTo>
                  <a:close/>
                  <a:moveTo>
                    <a:pt x="507" y="104"/>
                  </a:moveTo>
                  <a:cubicBezTo>
                    <a:pt x="495" y="104"/>
                    <a:pt x="495" y="104"/>
                    <a:pt x="495" y="104"/>
                  </a:cubicBezTo>
                  <a:cubicBezTo>
                    <a:pt x="495" y="57"/>
                    <a:pt x="495" y="57"/>
                    <a:pt x="495" y="57"/>
                  </a:cubicBezTo>
                  <a:cubicBezTo>
                    <a:pt x="495" y="1"/>
                    <a:pt x="495" y="1"/>
                    <a:pt x="495" y="1"/>
                  </a:cubicBezTo>
                  <a:cubicBezTo>
                    <a:pt x="507" y="1"/>
                    <a:pt x="507" y="1"/>
                    <a:pt x="507" y="1"/>
                  </a:cubicBezTo>
                  <a:cubicBezTo>
                    <a:pt x="507" y="57"/>
                    <a:pt x="507" y="57"/>
                    <a:pt x="507" y="57"/>
                  </a:cubicBezTo>
                  <a:lnTo>
                    <a:pt x="507" y="104"/>
                  </a:lnTo>
                  <a:close/>
                  <a:moveTo>
                    <a:pt x="616" y="104"/>
                  </a:moveTo>
                  <a:cubicBezTo>
                    <a:pt x="604" y="104"/>
                    <a:pt x="604" y="104"/>
                    <a:pt x="604" y="104"/>
                  </a:cubicBezTo>
                  <a:cubicBezTo>
                    <a:pt x="604" y="30"/>
                    <a:pt x="604" y="30"/>
                    <a:pt x="604" y="30"/>
                  </a:cubicBezTo>
                  <a:cubicBezTo>
                    <a:pt x="577" y="88"/>
                    <a:pt x="577" y="88"/>
                    <a:pt x="577" y="88"/>
                  </a:cubicBezTo>
                  <a:cubicBezTo>
                    <a:pt x="567" y="88"/>
                    <a:pt x="567" y="88"/>
                    <a:pt x="567" y="88"/>
                  </a:cubicBezTo>
                  <a:cubicBezTo>
                    <a:pt x="540" y="30"/>
                    <a:pt x="540" y="30"/>
                    <a:pt x="540" y="30"/>
                  </a:cubicBezTo>
                  <a:cubicBezTo>
                    <a:pt x="540" y="104"/>
                    <a:pt x="540" y="104"/>
                    <a:pt x="540" y="104"/>
                  </a:cubicBezTo>
                  <a:cubicBezTo>
                    <a:pt x="528" y="104"/>
                    <a:pt x="528" y="104"/>
                    <a:pt x="528" y="104"/>
                  </a:cubicBezTo>
                  <a:cubicBezTo>
                    <a:pt x="528" y="1"/>
                    <a:pt x="528" y="1"/>
                    <a:pt x="528" y="1"/>
                  </a:cubicBezTo>
                  <a:cubicBezTo>
                    <a:pt x="540" y="1"/>
                    <a:pt x="540" y="1"/>
                    <a:pt x="540" y="1"/>
                  </a:cubicBezTo>
                  <a:cubicBezTo>
                    <a:pt x="540" y="2"/>
                    <a:pt x="540" y="2"/>
                    <a:pt x="540" y="2"/>
                  </a:cubicBezTo>
                  <a:cubicBezTo>
                    <a:pt x="572" y="72"/>
                    <a:pt x="572" y="72"/>
                    <a:pt x="572" y="72"/>
                  </a:cubicBezTo>
                  <a:cubicBezTo>
                    <a:pt x="604" y="1"/>
                    <a:pt x="604" y="1"/>
                    <a:pt x="604" y="1"/>
                  </a:cubicBezTo>
                  <a:cubicBezTo>
                    <a:pt x="616" y="1"/>
                    <a:pt x="616" y="1"/>
                    <a:pt x="616" y="1"/>
                  </a:cubicBezTo>
                  <a:lnTo>
                    <a:pt x="616" y="104"/>
                  </a:lnTo>
                  <a:close/>
                  <a:moveTo>
                    <a:pt x="663" y="104"/>
                  </a:moveTo>
                  <a:cubicBezTo>
                    <a:pt x="648" y="104"/>
                    <a:pt x="638" y="101"/>
                    <a:pt x="628" y="91"/>
                  </a:cubicBezTo>
                  <a:cubicBezTo>
                    <a:pt x="628" y="90"/>
                    <a:pt x="628" y="90"/>
                    <a:pt x="628" y="90"/>
                  </a:cubicBezTo>
                  <a:cubicBezTo>
                    <a:pt x="636" y="82"/>
                    <a:pt x="636" y="82"/>
                    <a:pt x="636" y="82"/>
                  </a:cubicBezTo>
                  <a:cubicBezTo>
                    <a:pt x="637" y="83"/>
                    <a:pt x="637" y="83"/>
                    <a:pt x="637" y="83"/>
                  </a:cubicBezTo>
                  <a:cubicBezTo>
                    <a:pt x="644" y="90"/>
                    <a:pt x="652" y="93"/>
                    <a:pt x="664" y="93"/>
                  </a:cubicBezTo>
                  <a:cubicBezTo>
                    <a:pt x="678" y="93"/>
                    <a:pt x="687" y="87"/>
                    <a:pt x="687" y="75"/>
                  </a:cubicBezTo>
                  <a:cubicBezTo>
                    <a:pt x="687" y="70"/>
                    <a:pt x="685" y="66"/>
                    <a:pt x="682" y="63"/>
                  </a:cubicBezTo>
                  <a:cubicBezTo>
                    <a:pt x="679" y="61"/>
                    <a:pt x="677" y="60"/>
                    <a:pt x="669" y="59"/>
                  </a:cubicBezTo>
                  <a:cubicBezTo>
                    <a:pt x="658" y="57"/>
                    <a:pt x="658" y="57"/>
                    <a:pt x="658" y="57"/>
                  </a:cubicBezTo>
                  <a:cubicBezTo>
                    <a:pt x="649" y="55"/>
                    <a:pt x="643" y="53"/>
                    <a:pt x="639" y="49"/>
                  </a:cubicBezTo>
                  <a:cubicBezTo>
                    <a:pt x="633" y="44"/>
                    <a:pt x="631" y="38"/>
                    <a:pt x="631" y="29"/>
                  </a:cubicBezTo>
                  <a:cubicBezTo>
                    <a:pt x="631" y="12"/>
                    <a:pt x="644" y="0"/>
                    <a:pt x="664" y="0"/>
                  </a:cubicBezTo>
                  <a:cubicBezTo>
                    <a:pt x="676" y="0"/>
                    <a:pt x="685" y="4"/>
                    <a:pt x="694" y="12"/>
                  </a:cubicBezTo>
                  <a:cubicBezTo>
                    <a:pt x="695" y="12"/>
                    <a:pt x="695" y="12"/>
                    <a:pt x="695" y="12"/>
                  </a:cubicBezTo>
                  <a:cubicBezTo>
                    <a:pt x="687" y="20"/>
                    <a:pt x="687" y="20"/>
                    <a:pt x="687" y="20"/>
                  </a:cubicBezTo>
                  <a:cubicBezTo>
                    <a:pt x="686" y="20"/>
                    <a:pt x="686" y="20"/>
                    <a:pt x="686" y="20"/>
                  </a:cubicBezTo>
                  <a:cubicBezTo>
                    <a:pt x="680" y="14"/>
                    <a:pt x="673" y="11"/>
                    <a:pt x="663" y="11"/>
                  </a:cubicBezTo>
                  <a:cubicBezTo>
                    <a:pt x="651" y="11"/>
                    <a:pt x="643" y="18"/>
                    <a:pt x="643" y="29"/>
                  </a:cubicBezTo>
                  <a:cubicBezTo>
                    <a:pt x="643" y="34"/>
                    <a:pt x="644" y="38"/>
                    <a:pt x="647" y="40"/>
                  </a:cubicBezTo>
                  <a:cubicBezTo>
                    <a:pt x="650" y="43"/>
                    <a:pt x="654" y="45"/>
                    <a:pt x="660" y="45"/>
                  </a:cubicBezTo>
                  <a:cubicBezTo>
                    <a:pt x="671" y="47"/>
                    <a:pt x="671" y="47"/>
                    <a:pt x="671" y="47"/>
                  </a:cubicBezTo>
                  <a:cubicBezTo>
                    <a:pt x="681" y="49"/>
                    <a:pt x="686" y="51"/>
                    <a:pt x="690" y="55"/>
                  </a:cubicBezTo>
                  <a:cubicBezTo>
                    <a:pt x="696" y="60"/>
                    <a:pt x="699" y="67"/>
                    <a:pt x="699" y="75"/>
                  </a:cubicBezTo>
                  <a:cubicBezTo>
                    <a:pt x="699" y="93"/>
                    <a:pt x="685" y="104"/>
                    <a:pt x="663" y="104"/>
                  </a:cubicBezTo>
                  <a:close/>
                  <a:moveTo>
                    <a:pt x="283" y="104"/>
                  </a:moveTo>
                  <a:cubicBezTo>
                    <a:pt x="281" y="104"/>
                    <a:pt x="281" y="104"/>
                    <a:pt x="281" y="104"/>
                  </a:cubicBezTo>
                  <a:cubicBezTo>
                    <a:pt x="269" y="104"/>
                    <a:pt x="262" y="96"/>
                    <a:pt x="262" y="84"/>
                  </a:cubicBezTo>
                  <a:cubicBezTo>
                    <a:pt x="262" y="42"/>
                    <a:pt x="262" y="42"/>
                    <a:pt x="262" y="42"/>
                  </a:cubicBezTo>
                  <a:cubicBezTo>
                    <a:pt x="253" y="42"/>
                    <a:pt x="253" y="42"/>
                    <a:pt x="253" y="42"/>
                  </a:cubicBezTo>
                  <a:cubicBezTo>
                    <a:pt x="253" y="32"/>
                    <a:pt x="253" y="32"/>
                    <a:pt x="253" y="32"/>
                  </a:cubicBezTo>
                  <a:cubicBezTo>
                    <a:pt x="262" y="32"/>
                    <a:pt x="262" y="32"/>
                    <a:pt x="262" y="32"/>
                  </a:cubicBezTo>
                  <a:cubicBezTo>
                    <a:pt x="262" y="11"/>
                    <a:pt x="262" y="11"/>
                    <a:pt x="262" y="11"/>
                  </a:cubicBezTo>
                  <a:cubicBezTo>
                    <a:pt x="274" y="11"/>
                    <a:pt x="274" y="11"/>
                    <a:pt x="274" y="11"/>
                  </a:cubicBezTo>
                  <a:cubicBezTo>
                    <a:pt x="274" y="32"/>
                    <a:pt x="274" y="32"/>
                    <a:pt x="274" y="32"/>
                  </a:cubicBezTo>
                  <a:cubicBezTo>
                    <a:pt x="289" y="32"/>
                    <a:pt x="289" y="32"/>
                    <a:pt x="289" y="32"/>
                  </a:cubicBezTo>
                  <a:cubicBezTo>
                    <a:pt x="289" y="42"/>
                    <a:pt x="289" y="42"/>
                    <a:pt x="289" y="42"/>
                  </a:cubicBezTo>
                  <a:cubicBezTo>
                    <a:pt x="274" y="42"/>
                    <a:pt x="274" y="42"/>
                    <a:pt x="274" y="42"/>
                  </a:cubicBezTo>
                  <a:cubicBezTo>
                    <a:pt x="274" y="84"/>
                    <a:pt x="274" y="84"/>
                    <a:pt x="274" y="84"/>
                  </a:cubicBezTo>
                  <a:cubicBezTo>
                    <a:pt x="274" y="90"/>
                    <a:pt x="277" y="93"/>
                    <a:pt x="283" y="93"/>
                  </a:cubicBezTo>
                  <a:cubicBezTo>
                    <a:pt x="283" y="93"/>
                    <a:pt x="283" y="93"/>
                    <a:pt x="283" y="93"/>
                  </a:cubicBezTo>
                  <a:cubicBezTo>
                    <a:pt x="283" y="94"/>
                    <a:pt x="283" y="94"/>
                    <a:pt x="283" y="94"/>
                  </a:cubicBezTo>
                  <a:lnTo>
                    <a:pt x="283" y="104"/>
                  </a:lnTo>
                  <a:close/>
                  <a:moveTo>
                    <a:pt x="350" y="104"/>
                  </a:moveTo>
                  <a:cubicBezTo>
                    <a:pt x="347" y="104"/>
                    <a:pt x="347" y="104"/>
                    <a:pt x="347" y="104"/>
                  </a:cubicBezTo>
                  <a:cubicBezTo>
                    <a:pt x="336" y="104"/>
                    <a:pt x="329" y="96"/>
                    <a:pt x="329" y="84"/>
                  </a:cubicBezTo>
                  <a:cubicBezTo>
                    <a:pt x="329" y="1"/>
                    <a:pt x="329" y="1"/>
                    <a:pt x="329" y="1"/>
                  </a:cubicBezTo>
                  <a:cubicBezTo>
                    <a:pt x="340" y="1"/>
                    <a:pt x="340" y="1"/>
                    <a:pt x="340" y="1"/>
                  </a:cubicBezTo>
                  <a:cubicBezTo>
                    <a:pt x="340" y="84"/>
                    <a:pt x="340" y="84"/>
                    <a:pt x="340" y="84"/>
                  </a:cubicBezTo>
                  <a:cubicBezTo>
                    <a:pt x="340" y="91"/>
                    <a:pt x="343" y="93"/>
                    <a:pt x="349" y="93"/>
                  </a:cubicBezTo>
                  <a:cubicBezTo>
                    <a:pt x="350" y="93"/>
                    <a:pt x="350" y="93"/>
                    <a:pt x="350" y="93"/>
                  </a:cubicBezTo>
                  <a:cubicBezTo>
                    <a:pt x="350" y="94"/>
                    <a:pt x="350" y="94"/>
                    <a:pt x="350" y="94"/>
                  </a:cubicBezTo>
                  <a:lnTo>
                    <a:pt x="350" y="104"/>
                  </a:lnTo>
                  <a:close/>
                </a:path>
              </a:pathLst>
            </a:custGeom>
            <a:solidFill>
              <a:srgbClr val="77787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6"/>
            <p:cNvSpPr>
              <a:spLocks noEditPoints="1"/>
            </p:cNvSpPr>
            <p:nvPr/>
          </p:nvSpPr>
          <p:spPr bwMode="gray">
            <a:xfrm>
              <a:off x="7458075" y="4721225"/>
              <a:ext cx="101600" cy="55563"/>
            </a:xfrm>
            <a:custGeom>
              <a:avLst/>
              <a:gdLst>
                <a:gd name="T0" fmla="*/ 14 w 64"/>
                <a:gd name="T1" fmla="*/ 7 h 35"/>
                <a:gd name="T2" fmla="*/ 14 w 64"/>
                <a:gd name="T3" fmla="*/ 35 h 35"/>
                <a:gd name="T4" fmla="*/ 9 w 64"/>
                <a:gd name="T5" fmla="*/ 35 h 35"/>
                <a:gd name="T6" fmla="*/ 9 w 64"/>
                <a:gd name="T7" fmla="*/ 7 h 35"/>
                <a:gd name="T8" fmla="*/ 0 w 64"/>
                <a:gd name="T9" fmla="*/ 7 h 35"/>
                <a:gd name="T10" fmla="*/ 0 w 64"/>
                <a:gd name="T11" fmla="*/ 0 h 35"/>
                <a:gd name="T12" fmla="*/ 23 w 64"/>
                <a:gd name="T13" fmla="*/ 0 h 35"/>
                <a:gd name="T14" fmla="*/ 23 w 64"/>
                <a:gd name="T15" fmla="*/ 7 h 35"/>
                <a:gd name="T16" fmla="*/ 14 w 64"/>
                <a:gd name="T17" fmla="*/ 7 h 35"/>
                <a:gd name="T18" fmla="*/ 57 w 64"/>
                <a:gd name="T19" fmla="*/ 35 h 35"/>
                <a:gd name="T20" fmla="*/ 57 w 64"/>
                <a:gd name="T21" fmla="*/ 14 h 35"/>
                <a:gd name="T22" fmla="*/ 50 w 64"/>
                <a:gd name="T23" fmla="*/ 28 h 35"/>
                <a:gd name="T24" fmla="*/ 45 w 64"/>
                <a:gd name="T25" fmla="*/ 28 h 35"/>
                <a:gd name="T26" fmla="*/ 38 w 64"/>
                <a:gd name="T27" fmla="*/ 14 h 35"/>
                <a:gd name="T28" fmla="*/ 38 w 64"/>
                <a:gd name="T29" fmla="*/ 35 h 35"/>
                <a:gd name="T30" fmla="*/ 31 w 64"/>
                <a:gd name="T31" fmla="*/ 35 h 35"/>
                <a:gd name="T32" fmla="*/ 31 w 64"/>
                <a:gd name="T33" fmla="*/ 0 h 35"/>
                <a:gd name="T34" fmla="*/ 38 w 64"/>
                <a:gd name="T35" fmla="*/ 0 h 35"/>
                <a:gd name="T36" fmla="*/ 47 w 64"/>
                <a:gd name="T37" fmla="*/ 21 h 35"/>
                <a:gd name="T38" fmla="*/ 57 w 64"/>
                <a:gd name="T39" fmla="*/ 0 h 35"/>
                <a:gd name="T40" fmla="*/ 64 w 64"/>
                <a:gd name="T41" fmla="*/ 0 h 35"/>
                <a:gd name="T42" fmla="*/ 64 w 64"/>
                <a:gd name="T43" fmla="*/ 35 h 35"/>
                <a:gd name="T44" fmla="*/ 57 w 64"/>
                <a:gd name="T4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4" h="35">
                  <a:moveTo>
                    <a:pt x="14" y="7"/>
                  </a:moveTo>
                  <a:lnTo>
                    <a:pt x="14" y="35"/>
                  </a:lnTo>
                  <a:lnTo>
                    <a:pt x="9" y="35"/>
                  </a:lnTo>
                  <a:lnTo>
                    <a:pt x="9" y="7"/>
                  </a:lnTo>
                  <a:lnTo>
                    <a:pt x="0" y="7"/>
                  </a:lnTo>
                  <a:lnTo>
                    <a:pt x="0" y="0"/>
                  </a:lnTo>
                  <a:lnTo>
                    <a:pt x="23" y="0"/>
                  </a:lnTo>
                  <a:lnTo>
                    <a:pt x="23" y="7"/>
                  </a:lnTo>
                  <a:lnTo>
                    <a:pt x="14" y="7"/>
                  </a:lnTo>
                  <a:close/>
                  <a:moveTo>
                    <a:pt x="57" y="35"/>
                  </a:moveTo>
                  <a:lnTo>
                    <a:pt x="57" y="14"/>
                  </a:lnTo>
                  <a:lnTo>
                    <a:pt x="50" y="28"/>
                  </a:lnTo>
                  <a:lnTo>
                    <a:pt x="45" y="28"/>
                  </a:lnTo>
                  <a:lnTo>
                    <a:pt x="38" y="14"/>
                  </a:lnTo>
                  <a:lnTo>
                    <a:pt x="38" y="35"/>
                  </a:lnTo>
                  <a:lnTo>
                    <a:pt x="31" y="35"/>
                  </a:lnTo>
                  <a:lnTo>
                    <a:pt x="31" y="0"/>
                  </a:lnTo>
                  <a:lnTo>
                    <a:pt x="38" y="0"/>
                  </a:lnTo>
                  <a:lnTo>
                    <a:pt x="47" y="21"/>
                  </a:lnTo>
                  <a:lnTo>
                    <a:pt x="57" y="0"/>
                  </a:lnTo>
                  <a:lnTo>
                    <a:pt x="64" y="0"/>
                  </a:lnTo>
                  <a:lnTo>
                    <a:pt x="64" y="35"/>
                  </a:lnTo>
                  <a:lnTo>
                    <a:pt x="57" y="35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7"/>
            <p:cNvSpPr>
              <a:spLocks noEditPoints="1"/>
            </p:cNvSpPr>
            <p:nvPr/>
          </p:nvSpPr>
          <p:spPr bwMode="gray">
            <a:xfrm>
              <a:off x="5591175" y="3467100"/>
              <a:ext cx="1060450" cy="950913"/>
            </a:xfrm>
            <a:custGeom>
              <a:avLst/>
              <a:gdLst>
                <a:gd name="T0" fmla="*/ 282 w 282"/>
                <a:gd name="T1" fmla="*/ 55 h 252"/>
                <a:gd name="T2" fmla="*/ 256 w 282"/>
                <a:gd name="T3" fmla="*/ 70 h 252"/>
                <a:gd name="T4" fmla="*/ 212 w 282"/>
                <a:gd name="T5" fmla="*/ 26 h 252"/>
                <a:gd name="T6" fmla="*/ 227 w 282"/>
                <a:gd name="T7" fmla="*/ 0 h 252"/>
                <a:gd name="T8" fmla="*/ 282 w 282"/>
                <a:gd name="T9" fmla="*/ 55 h 252"/>
                <a:gd name="T10" fmla="*/ 30 w 282"/>
                <a:gd name="T11" fmla="*/ 131 h 252"/>
                <a:gd name="T12" fmla="*/ 0 w 282"/>
                <a:gd name="T13" fmla="*/ 131 h 252"/>
                <a:gd name="T14" fmla="*/ 21 w 282"/>
                <a:gd name="T15" fmla="*/ 207 h 252"/>
                <a:gd name="T16" fmla="*/ 47 w 282"/>
                <a:gd name="T17" fmla="*/ 192 h 252"/>
                <a:gd name="T18" fmla="*/ 30 w 282"/>
                <a:gd name="T19" fmla="*/ 131 h 252"/>
                <a:gd name="T20" fmla="*/ 105 w 282"/>
                <a:gd name="T21" fmla="*/ 51 h 252"/>
                <a:gd name="T22" fmla="*/ 91 w 282"/>
                <a:gd name="T23" fmla="*/ 26 h 252"/>
                <a:gd name="T24" fmla="*/ 30 w 282"/>
                <a:gd name="T25" fmla="*/ 131 h 252"/>
                <a:gd name="T26" fmla="*/ 59 w 282"/>
                <a:gd name="T27" fmla="*/ 131 h 252"/>
                <a:gd name="T28" fmla="*/ 105 w 282"/>
                <a:gd name="T29" fmla="*/ 51 h 252"/>
                <a:gd name="T30" fmla="*/ 71 w 282"/>
                <a:gd name="T31" fmla="*/ 177 h 252"/>
                <a:gd name="T32" fmla="*/ 47 w 282"/>
                <a:gd name="T33" fmla="*/ 192 h 252"/>
                <a:gd name="T34" fmla="*/ 151 w 282"/>
                <a:gd name="T35" fmla="*/ 252 h 252"/>
                <a:gd name="T36" fmla="*/ 151 w 282"/>
                <a:gd name="T37" fmla="*/ 223 h 252"/>
                <a:gd name="T38" fmla="*/ 71 w 282"/>
                <a:gd name="T39" fmla="*/ 177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82" h="252">
                  <a:moveTo>
                    <a:pt x="282" y="55"/>
                  </a:moveTo>
                  <a:cubicBezTo>
                    <a:pt x="256" y="70"/>
                    <a:pt x="256" y="70"/>
                    <a:pt x="256" y="70"/>
                  </a:cubicBezTo>
                  <a:cubicBezTo>
                    <a:pt x="245" y="52"/>
                    <a:pt x="230" y="37"/>
                    <a:pt x="212" y="26"/>
                  </a:cubicBezTo>
                  <a:cubicBezTo>
                    <a:pt x="227" y="0"/>
                    <a:pt x="227" y="0"/>
                    <a:pt x="227" y="0"/>
                  </a:cubicBezTo>
                  <a:cubicBezTo>
                    <a:pt x="250" y="14"/>
                    <a:pt x="269" y="33"/>
                    <a:pt x="282" y="55"/>
                  </a:cubicBezTo>
                  <a:close/>
                  <a:moveTo>
                    <a:pt x="30" y="131"/>
                  </a:moveTo>
                  <a:cubicBezTo>
                    <a:pt x="0" y="131"/>
                    <a:pt x="0" y="131"/>
                    <a:pt x="0" y="131"/>
                  </a:cubicBezTo>
                  <a:cubicBezTo>
                    <a:pt x="0" y="158"/>
                    <a:pt x="8" y="184"/>
                    <a:pt x="21" y="207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36" y="174"/>
                    <a:pt x="30" y="153"/>
                    <a:pt x="30" y="131"/>
                  </a:cubicBezTo>
                  <a:close/>
                  <a:moveTo>
                    <a:pt x="105" y="51"/>
                  </a:moveTo>
                  <a:cubicBezTo>
                    <a:pt x="91" y="26"/>
                    <a:pt x="91" y="26"/>
                    <a:pt x="91" y="26"/>
                  </a:cubicBezTo>
                  <a:cubicBezTo>
                    <a:pt x="54" y="47"/>
                    <a:pt x="30" y="86"/>
                    <a:pt x="30" y="131"/>
                  </a:cubicBezTo>
                  <a:cubicBezTo>
                    <a:pt x="59" y="131"/>
                    <a:pt x="59" y="131"/>
                    <a:pt x="59" y="131"/>
                  </a:cubicBezTo>
                  <a:cubicBezTo>
                    <a:pt x="59" y="97"/>
                    <a:pt x="77" y="67"/>
                    <a:pt x="105" y="51"/>
                  </a:cubicBezTo>
                  <a:close/>
                  <a:moveTo>
                    <a:pt x="71" y="177"/>
                  </a:moveTo>
                  <a:cubicBezTo>
                    <a:pt x="47" y="192"/>
                    <a:pt x="47" y="192"/>
                    <a:pt x="47" y="192"/>
                  </a:cubicBezTo>
                  <a:cubicBezTo>
                    <a:pt x="68" y="228"/>
                    <a:pt x="106" y="252"/>
                    <a:pt x="151" y="252"/>
                  </a:cubicBezTo>
                  <a:cubicBezTo>
                    <a:pt x="151" y="223"/>
                    <a:pt x="151" y="223"/>
                    <a:pt x="151" y="223"/>
                  </a:cubicBezTo>
                  <a:cubicBezTo>
                    <a:pt x="117" y="223"/>
                    <a:pt x="87" y="205"/>
                    <a:pt x="71" y="177"/>
                  </a:cubicBezTo>
                  <a:close/>
                </a:path>
              </a:pathLst>
            </a:custGeom>
            <a:solidFill>
              <a:srgbClr val="ACDAF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8"/>
            <p:cNvSpPr>
              <a:spLocks noEditPoints="1"/>
            </p:cNvSpPr>
            <p:nvPr/>
          </p:nvSpPr>
          <p:spPr bwMode="gray">
            <a:xfrm>
              <a:off x="5591175" y="3390900"/>
              <a:ext cx="854075" cy="1136650"/>
            </a:xfrm>
            <a:custGeom>
              <a:avLst/>
              <a:gdLst>
                <a:gd name="T0" fmla="*/ 21 w 227"/>
                <a:gd name="T1" fmla="*/ 227 h 301"/>
                <a:gd name="T2" fmla="*/ 47 w 227"/>
                <a:gd name="T3" fmla="*/ 212 h 301"/>
                <a:gd name="T4" fmla="*/ 151 w 227"/>
                <a:gd name="T5" fmla="*/ 272 h 301"/>
                <a:gd name="T6" fmla="*/ 212 w 227"/>
                <a:gd name="T7" fmla="*/ 255 h 301"/>
                <a:gd name="T8" fmla="*/ 227 w 227"/>
                <a:gd name="T9" fmla="*/ 281 h 301"/>
                <a:gd name="T10" fmla="*/ 151 w 227"/>
                <a:gd name="T11" fmla="*/ 301 h 301"/>
                <a:gd name="T12" fmla="*/ 21 w 227"/>
                <a:gd name="T13" fmla="*/ 227 h 301"/>
                <a:gd name="T14" fmla="*/ 151 w 227"/>
                <a:gd name="T15" fmla="*/ 30 h 301"/>
                <a:gd name="T16" fmla="*/ 212 w 227"/>
                <a:gd name="T17" fmla="*/ 46 h 301"/>
                <a:gd name="T18" fmla="*/ 227 w 227"/>
                <a:gd name="T19" fmla="*/ 20 h 301"/>
                <a:gd name="T20" fmla="*/ 151 w 227"/>
                <a:gd name="T21" fmla="*/ 0 h 301"/>
                <a:gd name="T22" fmla="*/ 0 w 227"/>
                <a:gd name="T23" fmla="*/ 151 h 301"/>
                <a:gd name="T24" fmla="*/ 30 w 227"/>
                <a:gd name="T25" fmla="*/ 151 h 301"/>
                <a:gd name="T26" fmla="*/ 151 w 227"/>
                <a:gd name="T27" fmla="*/ 3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7" h="301">
                  <a:moveTo>
                    <a:pt x="21" y="227"/>
                  </a:moveTo>
                  <a:cubicBezTo>
                    <a:pt x="47" y="212"/>
                    <a:pt x="47" y="212"/>
                    <a:pt x="47" y="212"/>
                  </a:cubicBezTo>
                  <a:cubicBezTo>
                    <a:pt x="68" y="248"/>
                    <a:pt x="106" y="272"/>
                    <a:pt x="151" y="272"/>
                  </a:cubicBezTo>
                  <a:cubicBezTo>
                    <a:pt x="173" y="272"/>
                    <a:pt x="194" y="266"/>
                    <a:pt x="212" y="255"/>
                  </a:cubicBezTo>
                  <a:cubicBezTo>
                    <a:pt x="227" y="281"/>
                    <a:pt x="227" y="281"/>
                    <a:pt x="227" y="281"/>
                  </a:cubicBezTo>
                  <a:cubicBezTo>
                    <a:pt x="204" y="294"/>
                    <a:pt x="179" y="301"/>
                    <a:pt x="151" y="301"/>
                  </a:cubicBezTo>
                  <a:cubicBezTo>
                    <a:pt x="96" y="301"/>
                    <a:pt x="47" y="271"/>
                    <a:pt x="21" y="227"/>
                  </a:cubicBezTo>
                  <a:close/>
                  <a:moveTo>
                    <a:pt x="151" y="30"/>
                  </a:moveTo>
                  <a:cubicBezTo>
                    <a:pt x="173" y="30"/>
                    <a:pt x="194" y="36"/>
                    <a:pt x="212" y="46"/>
                  </a:cubicBezTo>
                  <a:cubicBezTo>
                    <a:pt x="227" y="20"/>
                    <a:pt x="227" y="20"/>
                    <a:pt x="227" y="20"/>
                  </a:cubicBezTo>
                  <a:cubicBezTo>
                    <a:pt x="205" y="7"/>
                    <a:pt x="179" y="0"/>
                    <a:pt x="151" y="0"/>
                  </a:cubicBezTo>
                  <a:cubicBezTo>
                    <a:pt x="68" y="0"/>
                    <a:pt x="0" y="68"/>
                    <a:pt x="0" y="151"/>
                  </a:cubicBezTo>
                  <a:cubicBezTo>
                    <a:pt x="30" y="151"/>
                    <a:pt x="30" y="151"/>
                    <a:pt x="30" y="151"/>
                  </a:cubicBezTo>
                  <a:cubicBezTo>
                    <a:pt x="30" y="84"/>
                    <a:pt x="84" y="30"/>
                    <a:pt x="151" y="30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9"/>
            <p:cNvSpPr>
              <a:spLocks noEditPoints="1"/>
            </p:cNvSpPr>
            <p:nvPr/>
          </p:nvSpPr>
          <p:spPr bwMode="gray">
            <a:xfrm>
              <a:off x="5811838" y="3609975"/>
              <a:ext cx="915987" cy="698500"/>
            </a:xfrm>
            <a:custGeom>
              <a:avLst/>
              <a:gdLst>
                <a:gd name="T0" fmla="*/ 197 w 243"/>
                <a:gd name="T1" fmla="*/ 32 h 185"/>
                <a:gd name="T2" fmla="*/ 223 w 243"/>
                <a:gd name="T3" fmla="*/ 17 h 185"/>
                <a:gd name="T4" fmla="*/ 243 w 243"/>
                <a:gd name="T5" fmla="*/ 93 h 185"/>
                <a:gd name="T6" fmla="*/ 223 w 243"/>
                <a:gd name="T7" fmla="*/ 168 h 185"/>
                <a:gd name="T8" fmla="*/ 197 w 243"/>
                <a:gd name="T9" fmla="*/ 153 h 185"/>
                <a:gd name="T10" fmla="*/ 213 w 243"/>
                <a:gd name="T11" fmla="*/ 93 h 185"/>
                <a:gd name="T12" fmla="*/ 197 w 243"/>
                <a:gd name="T13" fmla="*/ 32 h 185"/>
                <a:gd name="T14" fmla="*/ 178 w 243"/>
                <a:gd name="T15" fmla="*/ 178 h 185"/>
                <a:gd name="T16" fmla="*/ 158 w 243"/>
                <a:gd name="T17" fmla="*/ 158 h 185"/>
                <a:gd name="T18" fmla="*/ 92 w 243"/>
                <a:gd name="T19" fmla="*/ 185 h 185"/>
                <a:gd name="T20" fmla="*/ 0 w 243"/>
                <a:gd name="T21" fmla="*/ 93 h 185"/>
                <a:gd name="T22" fmla="*/ 92 w 243"/>
                <a:gd name="T23" fmla="*/ 0 h 185"/>
                <a:gd name="T24" fmla="*/ 184 w 243"/>
                <a:gd name="T25" fmla="*/ 93 h 185"/>
                <a:gd name="T26" fmla="*/ 172 w 243"/>
                <a:gd name="T27" fmla="*/ 139 h 185"/>
                <a:gd name="T28" fmla="*/ 197 w 243"/>
                <a:gd name="T29" fmla="*/ 153 h 185"/>
                <a:gd name="T30" fmla="*/ 178 w 243"/>
                <a:gd name="T31" fmla="*/ 178 h 185"/>
                <a:gd name="T32" fmla="*/ 155 w 243"/>
                <a:gd name="T33" fmla="*/ 93 h 185"/>
                <a:gd name="T34" fmla="*/ 92 w 243"/>
                <a:gd name="T35" fmla="*/ 30 h 185"/>
                <a:gd name="T36" fmla="*/ 29 w 243"/>
                <a:gd name="T37" fmla="*/ 93 h 185"/>
                <a:gd name="T38" fmla="*/ 92 w 243"/>
                <a:gd name="T39" fmla="*/ 156 h 185"/>
                <a:gd name="T40" fmla="*/ 155 w 243"/>
                <a:gd name="T41" fmla="*/ 93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43" h="185">
                  <a:moveTo>
                    <a:pt x="197" y="32"/>
                  </a:moveTo>
                  <a:cubicBezTo>
                    <a:pt x="223" y="17"/>
                    <a:pt x="223" y="17"/>
                    <a:pt x="223" y="17"/>
                  </a:cubicBezTo>
                  <a:cubicBezTo>
                    <a:pt x="235" y="40"/>
                    <a:pt x="243" y="65"/>
                    <a:pt x="243" y="93"/>
                  </a:cubicBezTo>
                  <a:cubicBezTo>
                    <a:pt x="243" y="120"/>
                    <a:pt x="235" y="146"/>
                    <a:pt x="223" y="168"/>
                  </a:cubicBezTo>
                  <a:cubicBezTo>
                    <a:pt x="197" y="153"/>
                    <a:pt x="197" y="153"/>
                    <a:pt x="197" y="153"/>
                  </a:cubicBezTo>
                  <a:cubicBezTo>
                    <a:pt x="207" y="135"/>
                    <a:pt x="213" y="115"/>
                    <a:pt x="213" y="93"/>
                  </a:cubicBezTo>
                  <a:cubicBezTo>
                    <a:pt x="213" y="71"/>
                    <a:pt x="207" y="50"/>
                    <a:pt x="197" y="32"/>
                  </a:cubicBezTo>
                  <a:close/>
                  <a:moveTo>
                    <a:pt x="178" y="178"/>
                  </a:moveTo>
                  <a:cubicBezTo>
                    <a:pt x="158" y="158"/>
                    <a:pt x="158" y="158"/>
                    <a:pt x="158" y="158"/>
                  </a:cubicBezTo>
                  <a:cubicBezTo>
                    <a:pt x="141" y="175"/>
                    <a:pt x="118" y="185"/>
                    <a:pt x="92" y="185"/>
                  </a:cubicBezTo>
                  <a:cubicBezTo>
                    <a:pt x="41" y="185"/>
                    <a:pt x="0" y="144"/>
                    <a:pt x="0" y="93"/>
                  </a:cubicBezTo>
                  <a:cubicBezTo>
                    <a:pt x="0" y="42"/>
                    <a:pt x="41" y="0"/>
                    <a:pt x="92" y="0"/>
                  </a:cubicBezTo>
                  <a:cubicBezTo>
                    <a:pt x="143" y="0"/>
                    <a:pt x="184" y="42"/>
                    <a:pt x="184" y="93"/>
                  </a:cubicBezTo>
                  <a:cubicBezTo>
                    <a:pt x="184" y="110"/>
                    <a:pt x="180" y="125"/>
                    <a:pt x="172" y="139"/>
                  </a:cubicBezTo>
                  <a:cubicBezTo>
                    <a:pt x="197" y="153"/>
                    <a:pt x="197" y="153"/>
                    <a:pt x="197" y="153"/>
                  </a:cubicBezTo>
                  <a:cubicBezTo>
                    <a:pt x="192" y="162"/>
                    <a:pt x="185" y="171"/>
                    <a:pt x="178" y="178"/>
                  </a:cubicBezTo>
                  <a:close/>
                  <a:moveTo>
                    <a:pt x="155" y="93"/>
                  </a:moveTo>
                  <a:cubicBezTo>
                    <a:pt x="155" y="58"/>
                    <a:pt x="127" y="30"/>
                    <a:pt x="92" y="30"/>
                  </a:cubicBezTo>
                  <a:cubicBezTo>
                    <a:pt x="57" y="30"/>
                    <a:pt x="29" y="58"/>
                    <a:pt x="29" y="93"/>
                  </a:cubicBezTo>
                  <a:cubicBezTo>
                    <a:pt x="29" y="128"/>
                    <a:pt x="57" y="156"/>
                    <a:pt x="92" y="156"/>
                  </a:cubicBezTo>
                  <a:cubicBezTo>
                    <a:pt x="127" y="156"/>
                    <a:pt x="155" y="128"/>
                    <a:pt x="155" y="93"/>
                  </a:cubicBezTo>
                  <a:close/>
                </a:path>
              </a:pathLst>
            </a:custGeom>
            <a:solidFill>
              <a:srgbClr val="743C9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9" name="Rectangle 88"/>
          <p:cNvSpPr/>
          <p:nvPr/>
        </p:nvSpPr>
        <p:spPr bwMode="gray">
          <a:xfrm>
            <a:off x="1" y="6410036"/>
            <a:ext cx="9144000" cy="447964"/>
          </a:xfrm>
          <a:prstGeom prst="rect">
            <a:avLst/>
          </a:prstGeom>
          <a:solidFill>
            <a:srgbClr val="EBEBE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380866" y="6523141"/>
            <a:ext cx="2789546" cy="230832"/>
          </a:xfrm>
          <a:prstGeom prst="rect">
            <a:avLst/>
          </a:prstGeom>
          <a:ln>
            <a:noFill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900" dirty="0" smtClean="0">
                <a:solidFill>
                  <a:srgbClr val="1A1A1A"/>
                </a:solidFill>
                <a:ea typeface="Arial" charset="0"/>
                <a:cs typeface="Arial" charset="0"/>
              </a:rPr>
              <a:t>Copyright © 2016 </a:t>
            </a:r>
            <a:r>
              <a:rPr lang="en-US" sz="900" dirty="0" err="1" smtClean="0">
                <a:solidFill>
                  <a:srgbClr val="1A1A1A"/>
                </a:solidFill>
                <a:ea typeface="Arial" charset="0"/>
                <a:cs typeface="Arial" charset="0"/>
              </a:rPr>
              <a:t>QuintilesIMS</a:t>
            </a:r>
            <a:r>
              <a:rPr lang="en-US" sz="900" dirty="0" smtClean="0">
                <a:solidFill>
                  <a:srgbClr val="1A1A1A"/>
                </a:solidFill>
                <a:ea typeface="Arial" charset="0"/>
                <a:cs typeface="Arial" charset="0"/>
              </a:rPr>
              <a:t>. All rights reserved.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Header w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77390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2234275" y="6473951"/>
            <a:ext cx="630936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R Programming Language - Basic || Day-1 || 18 Sep 2017 </a:t>
            </a:r>
            <a:endParaRPr lang="en-US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1"/>
          </p:nvPr>
        </p:nvSpPr>
        <p:spPr>
          <a:xfrm>
            <a:off x="420256" y="6666345"/>
            <a:ext cx="346364" cy="150091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Rectangle 2"/>
          <p:cNvSpPr/>
          <p:nvPr/>
        </p:nvSpPr>
        <p:spPr bwMode="white">
          <a:xfrm>
            <a:off x="332509" y="6650182"/>
            <a:ext cx="5726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384047" y="1662977"/>
            <a:ext cx="8348472" cy="4617748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1000"/>
              </a:spcBef>
              <a:defRPr sz="1600" baseline="0">
                <a:solidFill>
                  <a:schemeClr val="tx2"/>
                </a:solidFill>
              </a:defRPr>
            </a:lvl1pPr>
            <a:lvl2pPr marL="400050" indent="-177800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 baseline="0">
                <a:solidFill>
                  <a:schemeClr val="tx2"/>
                </a:solidFill>
              </a:defRPr>
            </a:lvl2pPr>
            <a:lvl3pPr marL="571500" indent="-171450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 baseline="0">
                <a:solidFill>
                  <a:schemeClr val="tx2"/>
                </a:solidFill>
              </a:defRPr>
            </a:lvl3pPr>
            <a:lvl4pPr marL="742950" indent="-171450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 baseline="0">
                <a:solidFill>
                  <a:schemeClr val="tx2"/>
                </a:solidFill>
              </a:defRPr>
            </a:lvl4pPr>
            <a:lvl5pPr marL="914400" indent="-171450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16pt Arial bullet level 1</a:t>
            </a:r>
          </a:p>
          <a:p>
            <a:pPr lvl="1"/>
            <a:r>
              <a:rPr lang="en-US" dirty="0" smtClean="0"/>
              <a:t>16pt Arial bullet level 2</a:t>
            </a:r>
          </a:p>
          <a:p>
            <a:pPr lvl="2"/>
            <a:r>
              <a:rPr lang="en-US" dirty="0" smtClean="0"/>
              <a:t>16pt Arial bullet level 3</a:t>
            </a:r>
          </a:p>
          <a:p>
            <a:pPr lvl="3"/>
            <a:r>
              <a:rPr lang="en-US" dirty="0" smtClean="0"/>
              <a:t>16pt Arial bullet level 4</a:t>
            </a:r>
          </a:p>
          <a:p>
            <a:pPr lvl="4"/>
            <a:r>
              <a:rPr lang="en-US" dirty="0" smtClean="0"/>
              <a:t>16pt Arial bullet level 5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47" y="122663"/>
            <a:ext cx="8348472" cy="896112"/>
          </a:xfrm>
          <a:prstGeom prst="rect">
            <a:avLst/>
          </a:prstGeom>
        </p:spPr>
        <p:txBody>
          <a:bodyPr tIns="27432" bIns="27432" anchor="b" anchorCtr="0"/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Headlines are 24pt Arial Bold Title Cas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384047" y="1004285"/>
            <a:ext cx="8348472" cy="363176"/>
          </a:xfrm>
          <a:prstGeom prst="rect">
            <a:avLst/>
          </a:prstGeom>
        </p:spPr>
        <p:txBody>
          <a:bodyPr tIns="27432" bIns="27432">
            <a:spAutoFit/>
          </a:bodyPr>
          <a:lstStyle>
            <a:lvl1pPr marL="0" indent="0">
              <a:spcBef>
                <a:spcPts val="0"/>
              </a:spcBef>
              <a:buNone/>
              <a:defRPr sz="2000" i="0">
                <a:solidFill>
                  <a:schemeClr val="tx2"/>
                </a:solidFill>
                <a:latin typeface="+mj-lt"/>
              </a:defRPr>
            </a:lvl1pPr>
            <a:lvl2pPr>
              <a:buNone/>
              <a:defRPr i="1"/>
            </a:lvl2pPr>
            <a:lvl3pPr>
              <a:buNone/>
              <a:defRPr i="1"/>
            </a:lvl3pPr>
            <a:lvl4pPr>
              <a:buNone/>
              <a:defRPr i="1"/>
            </a:lvl4pPr>
            <a:lvl5pPr>
              <a:buNone/>
              <a:defRPr i="1"/>
            </a:lvl5pPr>
          </a:lstStyle>
          <a:p>
            <a:pPr lvl="0"/>
            <a:r>
              <a:rPr lang="en-US" dirty="0" smtClean="0"/>
              <a:t>Subheads are 20pt Arial sentence cas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75474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3"/>
          <p:cNvSpPr>
            <a:spLocks noGrp="1"/>
          </p:cNvSpPr>
          <p:nvPr>
            <p:ph type="dt" sz="half" idx="11"/>
          </p:nvPr>
        </p:nvSpPr>
        <p:spPr>
          <a:xfrm>
            <a:off x="466439" y="6659418"/>
            <a:ext cx="244762" cy="143163"/>
          </a:xfrm>
          <a:prstGeom prst="rect">
            <a:avLst/>
          </a:prstGeom>
        </p:spPr>
        <p:txBody>
          <a:bodyPr/>
          <a:lstStyle>
            <a:lvl1pPr>
              <a:defRPr sz="3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Rectangle 10"/>
          <p:cNvSpPr/>
          <p:nvPr/>
        </p:nvSpPr>
        <p:spPr bwMode="white">
          <a:xfrm>
            <a:off x="332509" y="6650182"/>
            <a:ext cx="5726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384047" y="1224250"/>
            <a:ext cx="8348472" cy="5001059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1000"/>
              </a:spcBef>
              <a:defRPr sz="1600">
                <a:solidFill>
                  <a:schemeClr val="tx2"/>
                </a:solidFill>
              </a:defRPr>
            </a:lvl1pPr>
            <a:lvl2pPr marL="400050" indent="-17780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2pPr>
            <a:lvl3pPr marL="57150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3pPr>
            <a:lvl4pPr marL="74295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4pPr>
            <a:lvl5pPr marL="914400" indent="-171450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16pt Arial bullet level 1</a:t>
            </a:r>
          </a:p>
          <a:p>
            <a:pPr lvl="1"/>
            <a:r>
              <a:rPr lang="en-US" dirty="0" smtClean="0"/>
              <a:t>16pt Arial bullet level 2</a:t>
            </a:r>
          </a:p>
          <a:p>
            <a:pPr lvl="2"/>
            <a:r>
              <a:rPr lang="en-US" dirty="0" smtClean="0"/>
              <a:t>16pt Arial bullet level 3</a:t>
            </a:r>
          </a:p>
          <a:p>
            <a:pPr lvl="3"/>
            <a:r>
              <a:rPr lang="en-US" dirty="0" smtClean="0"/>
              <a:t>16pt Arial bullet level 4</a:t>
            </a:r>
          </a:p>
          <a:p>
            <a:pPr lvl="4"/>
            <a:r>
              <a:rPr lang="en-US" dirty="0" smtClean="0"/>
              <a:t>16pt Arial bullet level 5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47" y="122663"/>
            <a:ext cx="8348472" cy="896112"/>
          </a:xfrm>
          <a:prstGeom prst="rect">
            <a:avLst/>
          </a:prstGeom>
        </p:spPr>
        <p:txBody>
          <a:bodyPr tIns="27432" bIns="27432" anchor="b" anchorCtr="0">
            <a:no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Headlines are 24pt Arial Bold Title Cas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2234275" y="6473951"/>
            <a:ext cx="6309360" cy="384048"/>
          </a:xfrm>
          <a:prstGeom prst="rect">
            <a:avLst/>
          </a:prstGeom>
        </p:spPr>
        <p:txBody>
          <a:bodyPr lIns="91440" tIns="0" rIns="91440"/>
          <a:lstStyle>
            <a:lvl1pPr algn="l">
              <a:defRPr sz="700" dirty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R Programming Language - Basic || Day-1 || 18 Sep 2017 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allout w/photo_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oter Placeholder 2"/>
          <p:cNvSpPr>
            <a:spLocks noGrp="1"/>
          </p:cNvSpPr>
          <p:nvPr>
            <p:ph type="ftr" sz="quarter" idx="18"/>
          </p:nvPr>
        </p:nvSpPr>
        <p:spPr bwMode="gray">
          <a:xfrm>
            <a:off x="2234275" y="6604000"/>
            <a:ext cx="6318598" cy="254000"/>
          </a:xfrm>
          <a:prstGeom prst="rect">
            <a:avLst/>
          </a:prstGeom>
        </p:spPr>
        <p:txBody>
          <a:bodyPr tIns="0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R Programming Language - Basic || Day-1 || 18 Sep 2017 </a:t>
            </a:r>
            <a:endParaRPr lang="en-US" dirty="0"/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11"/>
          </p:nvPr>
        </p:nvSpPr>
        <p:spPr bwMode="gray">
          <a:xfrm>
            <a:off x="8443838" y="5904347"/>
            <a:ext cx="503382" cy="131618"/>
          </a:xfrm>
          <a:prstGeom prst="rect">
            <a:avLst/>
          </a:prstGeom>
        </p:spPr>
        <p:txBody>
          <a:bodyPr/>
          <a:lstStyle>
            <a:lvl1pPr>
              <a:defRPr sz="300">
                <a:solidFill>
                  <a:schemeClr val="accent5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Picture Placeholder 10"/>
          <p:cNvSpPr>
            <a:spLocks noGrp="1"/>
          </p:cNvSpPr>
          <p:nvPr>
            <p:ph type="pic" sz="quarter" idx="14"/>
          </p:nvPr>
        </p:nvSpPr>
        <p:spPr bwMode="white">
          <a:xfrm>
            <a:off x="8432799" y="5781964"/>
            <a:ext cx="525461" cy="110836"/>
          </a:xfrm>
          <a:prstGeom prst="rect">
            <a:avLst/>
          </a:prstGeom>
        </p:spPr>
        <p:txBody>
          <a:bodyPr rtlCol="0">
            <a:noAutofit/>
          </a:bodyPr>
          <a:lstStyle>
            <a:lvl1pPr marL="0" indent="0">
              <a:buNone/>
              <a:defRPr sz="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15000"/>
            <a:ext cx="9144000" cy="1143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47" y="122663"/>
            <a:ext cx="8348472" cy="896112"/>
          </a:xfrm>
          <a:prstGeom prst="rect">
            <a:avLst/>
          </a:prstGeom>
        </p:spPr>
        <p:txBody>
          <a:bodyPr tIns="27432" bIns="27432" anchor="b" anchorCtr="0">
            <a:no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Headlines are 24pt Arial Bold Title Cas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384047" y="1004285"/>
            <a:ext cx="8348472" cy="363176"/>
          </a:xfrm>
          <a:prstGeom prst="rect">
            <a:avLst/>
          </a:prstGeom>
        </p:spPr>
        <p:txBody>
          <a:bodyPr tIns="27432" bIns="27432">
            <a:spAutoFit/>
          </a:bodyPr>
          <a:lstStyle>
            <a:lvl1pPr marL="0" indent="0">
              <a:spcBef>
                <a:spcPts val="0"/>
              </a:spcBef>
              <a:buNone/>
              <a:defRPr sz="2000" i="0">
                <a:solidFill>
                  <a:schemeClr val="tx2"/>
                </a:solidFill>
                <a:latin typeface="+mj-lt"/>
              </a:defRPr>
            </a:lvl1pPr>
            <a:lvl2pPr>
              <a:buNone/>
              <a:defRPr sz="1600" i="1"/>
            </a:lvl2pPr>
            <a:lvl3pPr>
              <a:buNone/>
              <a:defRPr sz="1600" i="1"/>
            </a:lvl3pPr>
            <a:lvl4pPr>
              <a:buNone/>
              <a:defRPr sz="1600" i="1"/>
            </a:lvl4pPr>
            <a:lvl5pPr>
              <a:buNone/>
              <a:defRPr sz="1600" i="1"/>
            </a:lvl5pPr>
          </a:lstStyle>
          <a:p>
            <a:pPr lvl="0"/>
            <a:r>
              <a:rPr lang="en-US" dirty="0" smtClean="0"/>
              <a:t>Subheads are 20pt Arial sentence case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384047" y="5895623"/>
            <a:ext cx="7780898" cy="781752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bg1"/>
                </a:solidFill>
                <a:latin typeface="+mj-lt"/>
              </a:defRPr>
            </a:lvl1pPr>
            <a:lvl2pPr marL="230188" indent="-115888">
              <a:lnSpc>
                <a:spcPct val="100000"/>
              </a:lnSpc>
              <a:spcBef>
                <a:spcPts val="200"/>
              </a:spcBef>
              <a:buFont typeface="Arial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2pPr>
            <a:lvl3pPr marL="457200" indent="-171450">
              <a:lnSpc>
                <a:spcPct val="100000"/>
              </a:lnSpc>
              <a:buFont typeface="Arial" pitchFamily="34" charset="0"/>
              <a:buChar char="›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1600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 smtClean="0"/>
              <a:t>Callouts are 16pt Arial bold sentence case</a:t>
            </a:r>
          </a:p>
          <a:p>
            <a:pPr lvl="1"/>
            <a:r>
              <a:rPr lang="en-US" noProof="0" dirty="0" smtClean="0"/>
              <a:t>12pt Arial bullet 1</a:t>
            </a:r>
          </a:p>
          <a:p>
            <a:pPr lvl="1"/>
            <a:r>
              <a:rPr lang="en-US" noProof="0" dirty="0" smtClean="0"/>
              <a:t>12pt Arial bullet 2</a:t>
            </a:r>
          </a:p>
        </p:txBody>
      </p:sp>
      <p:sp>
        <p:nvSpPr>
          <p:cNvPr id="64" name="Slide Number Placeholder 6"/>
          <p:cNvSpPr txBox="1">
            <a:spLocks/>
          </p:cNvSpPr>
          <p:nvPr/>
        </p:nvSpPr>
        <p:spPr bwMode="white">
          <a:xfrm>
            <a:off x="8160772" y="6424764"/>
            <a:ext cx="762000" cy="2286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FA4524-850C-6D4F-85BC-70D4F7341579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Content Placeholder 11"/>
          <p:cNvSpPr>
            <a:spLocks noGrp="1"/>
          </p:cNvSpPr>
          <p:nvPr>
            <p:ph sz="quarter" idx="16" hasCustomPrompt="1"/>
          </p:nvPr>
        </p:nvSpPr>
        <p:spPr>
          <a:xfrm>
            <a:off x="384047" y="1662977"/>
            <a:ext cx="8348472" cy="3934261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1000"/>
              </a:spcBef>
              <a:defRPr sz="1600">
                <a:solidFill>
                  <a:schemeClr val="tx2"/>
                </a:solidFill>
              </a:defRPr>
            </a:lvl1pPr>
            <a:lvl2pPr marL="400050" indent="-17780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2pPr>
            <a:lvl3pPr marL="57150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3pPr>
            <a:lvl4pPr marL="74295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4pPr>
            <a:lvl5pPr marL="914400" indent="-171450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16pt Arial bullet level 1</a:t>
            </a:r>
          </a:p>
          <a:p>
            <a:pPr lvl="1"/>
            <a:r>
              <a:rPr lang="en-US" dirty="0" smtClean="0"/>
              <a:t>16pt Arial bullet level 2</a:t>
            </a:r>
          </a:p>
          <a:p>
            <a:pPr lvl="2"/>
            <a:r>
              <a:rPr lang="en-US" dirty="0" smtClean="0"/>
              <a:t>16pt Arial bullet level 3</a:t>
            </a:r>
          </a:p>
          <a:p>
            <a:pPr lvl="3"/>
            <a:r>
              <a:rPr lang="en-US" dirty="0" smtClean="0"/>
              <a:t>16pt Arial bullet level 4</a:t>
            </a:r>
          </a:p>
          <a:p>
            <a:pPr lvl="4"/>
            <a:r>
              <a:rPr lang="en-US" dirty="0" smtClean="0"/>
              <a:t>16pt Arial bullet level 5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and Sub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11"/>
          </p:nvPr>
        </p:nvSpPr>
        <p:spPr>
          <a:xfrm>
            <a:off x="420256" y="6675580"/>
            <a:ext cx="355600" cy="140855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Rectangle 9"/>
          <p:cNvSpPr/>
          <p:nvPr/>
        </p:nvSpPr>
        <p:spPr bwMode="white">
          <a:xfrm>
            <a:off x="332509" y="6650182"/>
            <a:ext cx="5726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47" y="122663"/>
            <a:ext cx="8348472" cy="896112"/>
          </a:xfrm>
          <a:prstGeom prst="rect">
            <a:avLst/>
          </a:prstGeom>
        </p:spPr>
        <p:txBody>
          <a:bodyPr tIns="27432" bIns="27432" anchor="b" anchorCtr="0">
            <a:no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Headlines are 24pt Arial Bold Title Cas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4047" y="1004285"/>
            <a:ext cx="8348472" cy="363176"/>
          </a:xfrm>
          <a:prstGeom prst="rect">
            <a:avLst/>
          </a:prstGeom>
        </p:spPr>
        <p:txBody>
          <a:bodyPr tIns="27432" bIns="27432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000" b="0" i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Subheads are 20pt Arial sentence cas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2234275" y="6474690"/>
            <a:ext cx="630936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R Programming Language - Basic || Day-1 || 18 Sep 2017 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2234275" y="6473951"/>
            <a:ext cx="630936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US" smtClean="0"/>
              <a:t>R Programming Language - Basic || Day-1 || 18 Sep 2017 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>
          <a:xfrm>
            <a:off x="420257" y="6661729"/>
            <a:ext cx="318654" cy="140855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Rectangle 4"/>
          <p:cNvSpPr/>
          <p:nvPr/>
        </p:nvSpPr>
        <p:spPr bwMode="white">
          <a:xfrm>
            <a:off x="332509" y="6650182"/>
            <a:ext cx="5726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47" y="122663"/>
            <a:ext cx="8348472" cy="896112"/>
          </a:xfrm>
          <a:prstGeom prst="rect">
            <a:avLst/>
          </a:prstGeom>
        </p:spPr>
        <p:txBody>
          <a:bodyPr tIns="27432" bIns="27432" anchor="b" anchorCtr="0">
            <a:noAutofit/>
          </a:bodyPr>
          <a:lstStyle>
            <a:lvl1pPr>
              <a:defRPr sz="2400" b="1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Headlines are 24pt Arial Bold Title Cas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/>
          <p:cNvSpPr>
            <a:spLocks noGrp="1"/>
          </p:cNvSpPr>
          <p:nvPr>
            <p:ph type="dt" sz="half" idx="11"/>
          </p:nvPr>
        </p:nvSpPr>
        <p:spPr>
          <a:xfrm>
            <a:off x="420256" y="6675580"/>
            <a:ext cx="309418" cy="131618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Rectangle 12"/>
          <p:cNvSpPr/>
          <p:nvPr/>
        </p:nvSpPr>
        <p:spPr bwMode="white">
          <a:xfrm>
            <a:off x="332509" y="6650182"/>
            <a:ext cx="5726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29" name="Content Placeholder 28"/>
          <p:cNvSpPr>
            <a:spLocks noGrp="1"/>
          </p:cNvSpPr>
          <p:nvPr>
            <p:ph sz="quarter" idx="14" hasCustomPrompt="1"/>
          </p:nvPr>
        </p:nvSpPr>
        <p:spPr>
          <a:xfrm>
            <a:off x="4672583" y="1662977"/>
            <a:ext cx="4041648" cy="4572000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1000"/>
              </a:spcBef>
              <a:defRPr sz="1600">
                <a:solidFill>
                  <a:schemeClr val="tx2"/>
                </a:solidFill>
              </a:defRPr>
            </a:lvl1pPr>
            <a:lvl2pPr marL="40005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2pPr>
            <a:lvl3pPr marL="57150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3pPr>
            <a:lvl4pPr marL="74295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4pPr>
            <a:lvl5pPr marL="914400" indent="-171450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16pt Arial bullet level 1</a:t>
            </a:r>
          </a:p>
          <a:p>
            <a:pPr lvl="1"/>
            <a:r>
              <a:rPr lang="en-US" dirty="0" smtClean="0"/>
              <a:t>16pt Arial bullet level 2</a:t>
            </a:r>
          </a:p>
          <a:p>
            <a:pPr lvl="2"/>
            <a:r>
              <a:rPr lang="en-US" dirty="0" smtClean="0"/>
              <a:t>16pt Arial bullet level 3</a:t>
            </a:r>
          </a:p>
          <a:p>
            <a:pPr lvl="3"/>
            <a:r>
              <a:rPr lang="en-US" dirty="0" smtClean="0"/>
              <a:t>16pt Arial bullet level 4</a:t>
            </a:r>
          </a:p>
          <a:p>
            <a:pPr lvl="4"/>
            <a:r>
              <a:rPr lang="en-US" dirty="0" smtClean="0"/>
              <a:t>16pt Arial bullet level 5</a:t>
            </a:r>
          </a:p>
        </p:txBody>
      </p:sp>
      <p:sp>
        <p:nvSpPr>
          <p:cNvPr id="27" name="Content Placeholder 26"/>
          <p:cNvSpPr>
            <a:spLocks noGrp="1"/>
          </p:cNvSpPr>
          <p:nvPr>
            <p:ph sz="quarter" idx="13" hasCustomPrompt="1"/>
          </p:nvPr>
        </p:nvSpPr>
        <p:spPr>
          <a:xfrm>
            <a:off x="384047" y="1662977"/>
            <a:ext cx="4038600" cy="4572000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1000"/>
              </a:spcBef>
              <a:defRPr sz="1600" b="0">
                <a:solidFill>
                  <a:schemeClr val="tx2"/>
                </a:solidFill>
              </a:defRPr>
            </a:lvl1pPr>
            <a:lvl2pPr marL="40005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2pPr>
            <a:lvl3pPr marL="57150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3pPr>
            <a:lvl4pPr marL="74295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4pPr>
            <a:lvl5pPr marL="914400" indent="-171450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16pt Arial bullet level 1</a:t>
            </a:r>
          </a:p>
          <a:p>
            <a:pPr lvl="1"/>
            <a:r>
              <a:rPr lang="en-US" dirty="0" smtClean="0"/>
              <a:t>16pt Arial bullet level 2</a:t>
            </a:r>
          </a:p>
          <a:p>
            <a:pPr lvl="2"/>
            <a:r>
              <a:rPr lang="en-US" dirty="0" smtClean="0"/>
              <a:t>16pt Arial bullet level 3</a:t>
            </a:r>
          </a:p>
          <a:p>
            <a:pPr lvl="3"/>
            <a:r>
              <a:rPr lang="en-US" dirty="0" smtClean="0"/>
              <a:t>16pt Arial bullet level 4</a:t>
            </a:r>
          </a:p>
          <a:p>
            <a:pPr lvl="4"/>
            <a:r>
              <a:rPr lang="en-US" dirty="0" smtClean="0"/>
              <a:t>16pt Arial bullet level 5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47" y="122663"/>
            <a:ext cx="8348472" cy="896112"/>
          </a:xfrm>
          <a:prstGeom prst="rect">
            <a:avLst/>
          </a:prstGeom>
        </p:spPr>
        <p:txBody>
          <a:bodyPr tIns="27432" bIns="27432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 smtClean="0"/>
              <a:t>Headlines are 24pt Arial Bold Title Case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2" hasCustomPrompt="1"/>
          </p:nvPr>
        </p:nvSpPr>
        <p:spPr>
          <a:xfrm>
            <a:off x="384047" y="1004285"/>
            <a:ext cx="8348472" cy="363176"/>
          </a:xfrm>
          <a:prstGeom prst="rect">
            <a:avLst/>
          </a:prstGeom>
        </p:spPr>
        <p:txBody>
          <a:bodyPr tIns="27432" bIns="27432">
            <a:spAutoFit/>
          </a:bodyPr>
          <a:lstStyle>
            <a:lvl1pPr marL="0" indent="0">
              <a:spcBef>
                <a:spcPts val="0"/>
              </a:spcBef>
              <a:buNone/>
              <a:defRPr sz="2000" i="0">
                <a:solidFill>
                  <a:schemeClr val="tx2"/>
                </a:solidFill>
                <a:latin typeface="+mj-lt"/>
              </a:defRPr>
            </a:lvl1pPr>
            <a:lvl2pPr>
              <a:buNone/>
              <a:defRPr sz="1600" i="1">
                <a:solidFill>
                  <a:srgbClr val="414343"/>
                </a:solidFill>
              </a:defRPr>
            </a:lvl2pPr>
            <a:lvl3pPr>
              <a:buNone/>
              <a:defRPr sz="1600" i="1">
                <a:solidFill>
                  <a:srgbClr val="414343"/>
                </a:solidFill>
              </a:defRPr>
            </a:lvl3pPr>
            <a:lvl4pPr>
              <a:buNone/>
              <a:defRPr sz="1600" i="1">
                <a:solidFill>
                  <a:srgbClr val="414343"/>
                </a:solidFill>
              </a:defRPr>
            </a:lvl4pPr>
            <a:lvl5pPr>
              <a:buNone/>
              <a:defRPr sz="1600" i="1">
                <a:solidFill>
                  <a:srgbClr val="414343"/>
                </a:solidFill>
              </a:defRPr>
            </a:lvl5pPr>
          </a:lstStyle>
          <a:p>
            <a:pPr lvl="0"/>
            <a:r>
              <a:rPr lang="en-US" dirty="0" smtClean="0"/>
              <a:t>Subheads are 20pt Arial sentence cas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5"/>
          </p:nvPr>
        </p:nvSpPr>
        <p:spPr>
          <a:xfrm>
            <a:off x="2234275" y="6473951"/>
            <a:ext cx="630936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R Programming Language - Basic || Day-1 || 18 Sep 2017 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5"/>
          <p:cNvSpPr>
            <a:spLocks noGrp="1"/>
          </p:cNvSpPr>
          <p:nvPr>
            <p:ph type="ftr" sz="quarter" idx="15"/>
          </p:nvPr>
        </p:nvSpPr>
        <p:spPr>
          <a:xfrm>
            <a:off x="2234275" y="6473951"/>
            <a:ext cx="630936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R Programming Language - Basic || Day-1 || 18 Sep 2017 </a:t>
            </a:r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1"/>
          </p:nvPr>
        </p:nvSpPr>
        <p:spPr>
          <a:xfrm>
            <a:off x="411018" y="6680201"/>
            <a:ext cx="337127" cy="140855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Rectangle 14"/>
          <p:cNvSpPr/>
          <p:nvPr/>
        </p:nvSpPr>
        <p:spPr bwMode="white">
          <a:xfrm>
            <a:off x="332509" y="6650182"/>
            <a:ext cx="5726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10" name="Content Placeholder 2"/>
          <p:cNvSpPr>
            <a:spLocks noGrp="1"/>
          </p:cNvSpPr>
          <p:nvPr>
            <p:ph sz="half" idx="14" hasCustomPrompt="1"/>
          </p:nvPr>
        </p:nvSpPr>
        <p:spPr>
          <a:xfrm>
            <a:off x="6062471" y="1662977"/>
            <a:ext cx="26670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1450" indent="-171450">
              <a:spcBef>
                <a:spcPts val="1000"/>
              </a:spcBef>
              <a:defRPr sz="1600">
                <a:solidFill>
                  <a:schemeClr val="tx2"/>
                </a:solidFill>
              </a:defRPr>
            </a:lvl1pPr>
            <a:lvl2pPr marL="396875" indent="-166688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2pPr>
            <a:lvl3pPr marL="573088" indent="-176213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3pPr>
            <a:lvl4pPr marL="738188" indent="-16510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4pPr>
            <a:lvl5pPr marL="914400" indent="-176213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16pt Arial bullet level 1</a:t>
            </a:r>
          </a:p>
          <a:p>
            <a:pPr lvl="1"/>
            <a:r>
              <a:rPr lang="en-US" dirty="0" smtClean="0"/>
              <a:t>16pt Arial bullet level 2</a:t>
            </a:r>
          </a:p>
          <a:p>
            <a:pPr lvl="2"/>
            <a:r>
              <a:rPr lang="en-US" dirty="0" smtClean="0"/>
              <a:t>16pt Arial bullet level 3</a:t>
            </a:r>
          </a:p>
          <a:p>
            <a:pPr lvl="3"/>
            <a:r>
              <a:rPr lang="en-US" dirty="0" smtClean="0"/>
              <a:t>16pt Arial bullet level 4</a:t>
            </a:r>
          </a:p>
          <a:p>
            <a:pPr lvl="4"/>
            <a:r>
              <a:rPr lang="en-US" dirty="0" smtClean="0"/>
              <a:t>16pt Arial bullet level 5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3223259" y="1662977"/>
            <a:ext cx="26670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1450" indent="-171450">
              <a:spcBef>
                <a:spcPts val="1000"/>
              </a:spcBef>
              <a:defRPr sz="1600">
                <a:solidFill>
                  <a:schemeClr val="tx2"/>
                </a:solidFill>
              </a:defRPr>
            </a:lvl1pPr>
            <a:lvl2pPr marL="396875" indent="-166688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2pPr>
            <a:lvl3pPr marL="573088" indent="-176213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3pPr>
            <a:lvl4pPr marL="738188" indent="-16510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4pPr>
            <a:lvl5pPr marL="914400" indent="-176213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16pt Arial bullet level 1</a:t>
            </a:r>
          </a:p>
          <a:p>
            <a:pPr lvl="1"/>
            <a:r>
              <a:rPr lang="en-US" dirty="0" smtClean="0"/>
              <a:t>16pt Arial bullet level 2</a:t>
            </a:r>
          </a:p>
          <a:p>
            <a:pPr lvl="2"/>
            <a:r>
              <a:rPr lang="en-US" dirty="0" smtClean="0"/>
              <a:t>16pt Arial bullet level 3</a:t>
            </a:r>
          </a:p>
          <a:p>
            <a:pPr lvl="3"/>
            <a:r>
              <a:rPr lang="en-US" dirty="0" smtClean="0"/>
              <a:t>16pt Arial bullet level 4</a:t>
            </a:r>
          </a:p>
          <a:p>
            <a:pPr lvl="4"/>
            <a:r>
              <a:rPr lang="en-US" dirty="0" smtClean="0"/>
              <a:t>16pt Arial bullet level 5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84047" y="1662977"/>
            <a:ext cx="26670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1450" indent="-171450">
              <a:spcBef>
                <a:spcPts val="1000"/>
              </a:spcBef>
              <a:defRPr sz="1600">
                <a:solidFill>
                  <a:schemeClr val="tx2"/>
                </a:solidFill>
              </a:defRPr>
            </a:lvl1pPr>
            <a:lvl2pPr marL="396875" indent="-166688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2pPr>
            <a:lvl3pPr marL="573088" indent="-176213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3pPr>
            <a:lvl4pPr marL="738188" indent="-16510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4pPr>
            <a:lvl5pPr marL="914400" indent="-176213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16pt Arial bullet level 1</a:t>
            </a:r>
          </a:p>
          <a:p>
            <a:pPr lvl="1"/>
            <a:r>
              <a:rPr lang="en-US" dirty="0" smtClean="0"/>
              <a:t>16pt Arial bullet level 2</a:t>
            </a:r>
          </a:p>
          <a:p>
            <a:pPr lvl="2"/>
            <a:r>
              <a:rPr lang="en-US" dirty="0" smtClean="0"/>
              <a:t>16pt Arial bullet level 3</a:t>
            </a:r>
          </a:p>
          <a:p>
            <a:pPr lvl="3"/>
            <a:r>
              <a:rPr lang="en-US" dirty="0" smtClean="0"/>
              <a:t>16pt Arial bullet level 4</a:t>
            </a:r>
          </a:p>
          <a:p>
            <a:pPr lvl="4"/>
            <a:r>
              <a:rPr lang="en-US" dirty="0" smtClean="0"/>
              <a:t>16pt Arial bullet level 5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47" y="122663"/>
            <a:ext cx="8348472" cy="896112"/>
          </a:xfrm>
          <a:prstGeom prst="rect">
            <a:avLst/>
          </a:prstGeom>
        </p:spPr>
        <p:txBody>
          <a:bodyPr tIns="27432" bIns="27432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 smtClean="0"/>
              <a:t>Headlines are 24pt Arial Bold Title Cas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384047" y="1004285"/>
            <a:ext cx="8348472" cy="363176"/>
          </a:xfrm>
          <a:prstGeom prst="rect">
            <a:avLst/>
          </a:prstGeom>
        </p:spPr>
        <p:txBody>
          <a:bodyPr tIns="27432" bIns="27432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000" b="0" i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Subheads are 20pt Arial sentence cas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3"/>
          <p:cNvSpPr>
            <a:spLocks noGrp="1"/>
          </p:cNvSpPr>
          <p:nvPr>
            <p:ph type="dt" sz="half" idx="11"/>
          </p:nvPr>
        </p:nvSpPr>
        <p:spPr>
          <a:xfrm>
            <a:off x="457200" y="6666343"/>
            <a:ext cx="272473" cy="150091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Rectangle 4"/>
          <p:cNvSpPr/>
          <p:nvPr/>
        </p:nvSpPr>
        <p:spPr bwMode="white">
          <a:xfrm>
            <a:off x="332509" y="6650182"/>
            <a:ext cx="5726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2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234275" y="6473951"/>
            <a:ext cx="630936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smtClean="0"/>
              <a:t>R Programming Language - Basic || Day-1 || 18 Sep 2017 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9484426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0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Slide Number Placeholder 6"/>
          <p:cNvSpPr txBox="1">
            <a:spLocks/>
          </p:cNvSpPr>
          <p:nvPr/>
        </p:nvSpPr>
        <p:spPr>
          <a:xfrm>
            <a:off x="8158171" y="6424615"/>
            <a:ext cx="762000" cy="2286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FA4524-850C-6D4F-85BC-70D4F7341579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21212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4" name="Group 3"/>
          <p:cNvGrpSpPr/>
          <p:nvPr userDrawn="1"/>
        </p:nvGrpSpPr>
        <p:grpSpPr bwMode="gray">
          <a:xfrm>
            <a:off x="449977" y="6346861"/>
            <a:ext cx="1332641" cy="289100"/>
            <a:chOff x="4813445" y="5397500"/>
            <a:chExt cx="2736850" cy="593725"/>
          </a:xfrm>
        </p:grpSpPr>
        <p:sp>
          <p:nvSpPr>
            <p:cNvPr id="6" name="Freeform 5"/>
            <p:cNvSpPr>
              <a:spLocks noEditPoints="1"/>
            </p:cNvSpPr>
            <p:nvPr userDrawn="1"/>
          </p:nvSpPr>
          <p:spPr bwMode="gray">
            <a:xfrm>
              <a:off x="5526232" y="5549900"/>
              <a:ext cx="1927225" cy="301625"/>
            </a:xfrm>
            <a:custGeom>
              <a:avLst/>
              <a:gdLst>
                <a:gd name="T0" fmla="*/ 64 w 1231"/>
                <a:gd name="T1" fmla="*/ 183 h 191"/>
                <a:gd name="T2" fmla="*/ 18 w 1231"/>
                <a:gd name="T3" fmla="*/ 18 h 191"/>
                <a:gd name="T4" fmla="*/ 127 w 1231"/>
                <a:gd name="T5" fmla="*/ 92 h 191"/>
                <a:gd name="T6" fmla="*/ 121 w 1231"/>
                <a:gd name="T7" fmla="*/ 191 h 191"/>
                <a:gd name="T8" fmla="*/ 22 w 1231"/>
                <a:gd name="T9" fmla="*/ 92 h 191"/>
                <a:gd name="T10" fmla="*/ 87 w 1231"/>
                <a:gd name="T11" fmla="*/ 156 h 191"/>
                <a:gd name="T12" fmla="*/ 99 w 1231"/>
                <a:gd name="T13" fmla="*/ 142 h 191"/>
                <a:gd name="T14" fmla="*/ 64 w 1231"/>
                <a:gd name="T15" fmla="*/ 20 h 191"/>
                <a:gd name="T16" fmla="*/ 152 w 1231"/>
                <a:gd name="T17" fmla="*/ 136 h 191"/>
                <a:gd name="T18" fmla="*/ 172 w 1231"/>
                <a:gd name="T19" fmla="*/ 133 h 191"/>
                <a:gd name="T20" fmla="*/ 230 w 1231"/>
                <a:gd name="T21" fmla="*/ 56 h 191"/>
                <a:gd name="T22" fmla="*/ 231 w 1231"/>
                <a:gd name="T23" fmla="*/ 182 h 191"/>
                <a:gd name="T24" fmla="*/ 301 w 1231"/>
                <a:gd name="T25" fmla="*/ 182 h 191"/>
                <a:gd name="T26" fmla="*/ 281 w 1231"/>
                <a:gd name="T27" fmla="*/ 56 h 191"/>
                <a:gd name="T28" fmla="*/ 301 w 1231"/>
                <a:gd name="T29" fmla="*/ 182 h 191"/>
                <a:gd name="T30" fmla="*/ 280 w 1231"/>
                <a:gd name="T31" fmla="*/ 1 h 191"/>
                <a:gd name="T32" fmla="*/ 430 w 1231"/>
                <a:gd name="T33" fmla="*/ 182 h 191"/>
                <a:gd name="T34" fmla="*/ 381 w 1231"/>
                <a:gd name="T35" fmla="*/ 73 h 191"/>
                <a:gd name="T36" fmla="*/ 331 w 1231"/>
                <a:gd name="T37" fmla="*/ 182 h 191"/>
                <a:gd name="T38" fmla="*/ 352 w 1231"/>
                <a:gd name="T39" fmla="*/ 68 h 191"/>
                <a:gd name="T40" fmla="*/ 430 w 1231"/>
                <a:gd name="T41" fmla="*/ 102 h 191"/>
                <a:gd name="T42" fmla="*/ 529 w 1231"/>
                <a:gd name="T43" fmla="*/ 182 h 191"/>
                <a:gd name="T44" fmla="*/ 550 w 1231"/>
                <a:gd name="T45" fmla="*/ 56 h 191"/>
                <a:gd name="T46" fmla="*/ 551 w 1231"/>
                <a:gd name="T47" fmla="*/ 24 h 191"/>
                <a:gd name="T48" fmla="*/ 551 w 1231"/>
                <a:gd name="T49" fmla="*/ 1 h 191"/>
                <a:gd name="T50" fmla="*/ 631 w 1231"/>
                <a:gd name="T51" fmla="*/ 119 h 191"/>
                <a:gd name="T52" fmla="*/ 735 w 1231"/>
                <a:gd name="T53" fmla="*/ 125 h 191"/>
                <a:gd name="T54" fmla="*/ 718 w 1231"/>
                <a:gd name="T55" fmla="*/ 151 h 191"/>
                <a:gd name="T56" fmla="*/ 732 w 1231"/>
                <a:gd name="T57" fmla="*/ 164 h 191"/>
                <a:gd name="T58" fmla="*/ 714 w 1231"/>
                <a:gd name="T59" fmla="*/ 109 h 191"/>
                <a:gd name="T60" fmla="*/ 655 w 1231"/>
                <a:gd name="T61" fmla="*/ 90 h 191"/>
                <a:gd name="T62" fmla="*/ 746 w 1231"/>
                <a:gd name="T63" fmla="*/ 165 h 191"/>
                <a:gd name="T64" fmla="*/ 760 w 1231"/>
                <a:gd name="T65" fmla="*/ 151 h 191"/>
                <a:gd name="T66" fmla="*/ 809 w 1231"/>
                <a:gd name="T67" fmla="*/ 128 h 191"/>
                <a:gd name="T68" fmla="*/ 798 w 1231"/>
                <a:gd name="T69" fmla="*/ 55 h 191"/>
                <a:gd name="T70" fmla="*/ 830 w 1231"/>
                <a:gd name="T71" fmla="*/ 83 h 191"/>
                <a:gd name="T72" fmla="*/ 771 w 1231"/>
                <a:gd name="T73" fmla="*/ 92 h 191"/>
                <a:gd name="T74" fmla="*/ 849 w 1231"/>
                <a:gd name="T75" fmla="*/ 144 h 191"/>
                <a:gd name="T76" fmla="*/ 872 w 1231"/>
                <a:gd name="T77" fmla="*/ 182 h 191"/>
                <a:gd name="T78" fmla="*/ 894 w 1231"/>
                <a:gd name="T79" fmla="*/ 2 h 191"/>
                <a:gd name="T80" fmla="*/ 1085 w 1231"/>
                <a:gd name="T81" fmla="*/ 182 h 191"/>
                <a:gd name="T82" fmla="*/ 1017 w 1231"/>
                <a:gd name="T83" fmla="*/ 154 h 191"/>
                <a:gd name="T84" fmla="*/ 952 w 1231"/>
                <a:gd name="T85" fmla="*/ 182 h 191"/>
                <a:gd name="T86" fmla="*/ 951 w 1231"/>
                <a:gd name="T87" fmla="*/ 2 h 191"/>
                <a:gd name="T88" fmla="*/ 1064 w 1231"/>
                <a:gd name="T89" fmla="*/ 2 h 191"/>
                <a:gd name="T90" fmla="*/ 1168 w 1231"/>
                <a:gd name="T91" fmla="*/ 183 h 191"/>
                <a:gd name="T92" fmla="*/ 1120 w 1231"/>
                <a:gd name="T93" fmla="*/ 144 h 191"/>
                <a:gd name="T94" fmla="*/ 1209 w 1231"/>
                <a:gd name="T95" fmla="*/ 132 h 191"/>
                <a:gd name="T96" fmla="*/ 1158 w 1231"/>
                <a:gd name="T97" fmla="*/ 99 h 191"/>
                <a:gd name="T98" fmla="*/ 1169 w 1231"/>
                <a:gd name="T99" fmla="*/ 0 h 191"/>
                <a:gd name="T100" fmla="*/ 1209 w 1231"/>
                <a:gd name="T101" fmla="*/ 35 h 191"/>
                <a:gd name="T102" fmla="*/ 1132 w 1231"/>
                <a:gd name="T103" fmla="*/ 51 h 191"/>
                <a:gd name="T104" fmla="*/ 1182 w 1231"/>
                <a:gd name="T105" fmla="*/ 83 h 191"/>
                <a:gd name="T106" fmla="*/ 1168 w 1231"/>
                <a:gd name="T107" fmla="*/ 183 h 191"/>
                <a:gd name="T108" fmla="*/ 462 w 1231"/>
                <a:gd name="T109" fmla="*/ 147 h 191"/>
                <a:gd name="T110" fmla="*/ 446 w 1231"/>
                <a:gd name="T111" fmla="*/ 56 h 191"/>
                <a:gd name="T112" fmla="*/ 482 w 1231"/>
                <a:gd name="T113" fmla="*/ 19 h 191"/>
                <a:gd name="T114" fmla="*/ 509 w 1231"/>
                <a:gd name="T115" fmla="*/ 73 h 191"/>
                <a:gd name="T116" fmla="*/ 498 w 1231"/>
                <a:gd name="T117" fmla="*/ 164 h 191"/>
                <a:gd name="T118" fmla="*/ 499 w 1231"/>
                <a:gd name="T119" fmla="*/ 182 h 191"/>
                <a:gd name="T120" fmla="*/ 579 w 1231"/>
                <a:gd name="T121" fmla="*/ 148 h 191"/>
                <a:gd name="T122" fmla="*/ 600 w 1231"/>
                <a:gd name="T123" fmla="*/ 147 h 191"/>
                <a:gd name="T124" fmla="*/ 616 w 1231"/>
                <a:gd name="T125" fmla="*/ 16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31" h="191">
                  <a:moveTo>
                    <a:pt x="121" y="191"/>
                  </a:moveTo>
                  <a:cubicBezTo>
                    <a:pt x="102" y="171"/>
                    <a:pt x="102" y="171"/>
                    <a:pt x="102" y="171"/>
                  </a:cubicBezTo>
                  <a:cubicBezTo>
                    <a:pt x="91" y="179"/>
                    <a:pt x="78" y="183"/>
                    <a:pt x="64" y="183"/>
                  </a:cubicBezTo>
                  <a:cubicBezTo>
                    <a:pt x="46" y="183"/>
                    <a:pt x="30" y="177"/>
                    <a:pt x="18" y="165"/>
                  </a:cubicBezTo>
                  <a:cubicBezTo>
                    <a:pt x="1" y="148"/>
                    <a:pt x="0" y="131"/>
                    <a:pt x="0" y="92"/>
                  </a:cubicBezTo>
                  <a:cubicBezTo>
                    <a:pt x="0" y="52"/>
                    <a:pt x="1" y="35"/>
                    <a:pt x="18" y="18"/>
                  </a:cubicBezTo>
                  <a:cubicBezTo>
                    <a:pt x="30" y="6"/>
                    <a:pt x="46" y="0"/>
                    <a:pt x="64" y="0"/>
                  </a:cubicBezTo>
                  <a:cubicBezTo>
                    <a:pt x="82" y="0"/>
                    <a:pt x="97" y="6"/>
                    <a:pt x="109" y="18"/>
                  </a:cubicBezTo>
                  <a:cubicBezTo>
                    <a:pt x="125" y="35"/>
                    <a:pt x="127" y="50"/>
                    <a:pt x="127" y="92"/>
                  </a:cubicBezTo>
                  <a:cubicBezTo>
                    <a:pt x="127" y="125"/>
                    <a:pt x="126" y="143"/>
                    <a:pt x="115" y="158"/>
                  </a:cubicBezTo>
                  <a:cubicBezTo>
                    <a:pt x="135" y="178"/>
                    <a:pt x="135" y="178"/>
                    <a:pt x="135" y="178"/>
                  </a:cubicBezTo>
                  <a:lnTo>
                    <a:pt x="121" y="191"/>
                  </a:lnTo>
                  <a:close/>
                  <a:moveTo>
                    <a:pt x="64" y="20"/>
                  </a:moveTo>
                  <a:cubicBezTo>
                    <a:pt x="52" y="20"/>
                    <a:pt x="41" y="24"/>
                    <a:pt x="34" y="32"/>
                  </a:cubicBezTo>
                  <a:cubicBezTo>
                    <a:pt x="23" y="42"/>
                    <a:pt x="22" y="54"/>
                    <a:pt x="22" y="92"/>
                  </a:cubicBezTo>
                  <a:cubicBezTo>
                    <a:pt x="22" y="129"/>
                    <a:pt x="23" y="141"/>
                    <a:pt x="34" y="152"/>
                  </a:cubicBezTo>
                  <a:cubicBezTo>
                    <a:pt x="41" y="159"/>
                    <a:pt x="52" y="164"/>
                    <a:pt x="64" y="164"/>
                  </a:cubicBezTo>
                  <a:cubicBezTo>
                    <a:pt x="73" y="164"/>
                    <a:pt x="80" y="161"/>
                    <a:pt x="87" y="156"/>
                  </a:cubicBezTo>
                  <a:cubicBezTo>
                    <a:pt x="64" y="134"/>
                    <a:pt x="64" y="134"/>
                    <a:pt x="64" y="134"/>
                  </a:cubicBezTo>
                  <a:cubicBezTo>
                    <a:pt x="78" y="121"/>
                    <a:pt x="78" y="121"/>
                    <a:pt x="78" y="121"/>
                  </a:cubicBezTo>
                  <a:cubicBezTo>
                    <a:pt x="99" y="142"/>
                    <a:pt x="99" y="142"/>
                    <a:pt x="99" y="142"/>
                  </a:cubicBezTo>
                  <a:cubicBezTo>
                    <a:pt x="105" y="132"/>
                    <a:pt x="105" y="118"/>
                    <a:pt x="105" y="92"/>
                  </a:cubicBezTo>
                  <a:cubicBezTo>
                    <a:pt x="105" y="54"/>
                    <a:pt x="104" y="42"/>
                    <a:pt x="93" y="32"/>
                  </a:cubicBezTo>
                  <a:cubicBezTo>
                    <a:pt x="86" y="24"/>
                    <a:pt x="75" y="20"/>
                    <a:pt x="64" y="20"/>
                  </a:cubicBezTo>
                  <a:close/>
                  <a:moveTo>
                    <a:pt x="197" y="183"/>
                  </a:moveTo>
                  <a:cubicBezTo>
                    <a:pt x="184" y="183"/>
                    <a:pt x="172" y="179"/>
                    <a:pt x="165" y="171"/>
                  </a:cubicBezTo>
                  <a:cubicBezTo>
                    <a:pt x="156" y="163"/>
                    <a:pt x="152" y="151"/>
                    <a:pt x="152" y="136"/>
                  </a:cubicBezTo>
                  <a:cubicBezTo>
                    <a:pt x="152" y="56"/>
                    <a:pt x="152" y="56"/>
                    <a:pt x="152" y="56"/>
                  </a:cubicBezTo>
                  <a:cubicBezTo>
                    <a:pt x="172" y="56"/>
                    <a:pt x="172" y="56"/>
                    <a:pt x="172" y="56"/>
                  </a:cubicBezTo>
                  <a:cubicBezTo>
                    <a:pt x="172" y="133"/>
                    <a:pt x="172" y="133"/>
                    <a:pt x="172" y="133"/>
                  </a:cubicBezTo>
                  <a:cubicBezTo>
                    <a:pt x="172" y="154"/>
                    <a:pt x="182" y="165"/>
                    <a:pt x="201" y="165"/>
                  </a:cubicBezTo>
                  <a:cubicBezTo>
                    <a:pt x="220" y="165"/>
                    <a:pt x="230" y="153"/>
                    <a:pt x="230" y="133"/>
                  </a:cubicBezTo>
                  <a:cubicBezTo>
                    <a:pt x="230" y="56"/>
                    <a:pt x="230" y="56"/>
                    <a:pt x="230" y="56"/>
                  </a:cubicBezTo>
                  <a:cubicBezTo>
                    <a:pt x="251" y="56"/>
                    <a:pt x="251" y="56"/>
                    <a:pt x="251" y="56"/>
                  </a:cubicBezTo>
                  <a:cubicBezTo>
                    <a:pt x="251" y="182"/>
                    <a:pt x="251" y="182"/>
                    <a:pt x="251" y="182"/>
                  </a:cubicBezTo>
                  <a:cubicBezTo>
                    <a:pt x="231" y="182"/>
                    <a:pt x="231" y="182"/>
                    <a:pt x="231" y="182"/>
                  </a:cubicBezTo>
                  <a:cubicBezTo>
                    <a:pt x="231" y="170"/>
                    <a:pt x="231" y="170"/>
                    <a:pt x="231" y="170"/>
                  </a:cubicBezTo>
                  <a:cubicBezTo>
                    <a:pt x="222" y="178"/>
                    <a:pt x="210" y="183"/>
                    <a:pt x="197" y="183"/>
                  </a:cubicBezTo>
                  <a:close/>
                  <a:moveTo>
                    <a:pt x="301" y="182"/>
                  </a:moveTo>
                  <a:cubicBezTo>
                    <a:pt x="281" y="182"/>
                    <a:pt x="281" y="182"/>
                    <a:pt x="281" y="182"/>
                  </a:cubicBezTo>
                  <a:cubicBezTo>
                    <a:pt x="281" y="115"/>
                    <a:pt x="281" y="115"/>
                    <a:pt x="281" y="115"/>
                  </a:cubicBezTo>
                  <a:cubicBezTo>
                    <a:pt x="281" y="56"/>
                    <a:pt x="281" y="56"/>
                    <a:pt x="281" y="56"/>
                  </a:cubicBezTo>
                  <a:cubicBezTo>
                    <a:pt x="301" y="56"/>
                    <a:pt x="301" y="56"/>
                    <a:pt x="301" y="56"/>
                  </a:cubicBezTo>
                  <a:cubicBezTo>
                    <a:pt x="301" y="114"/>
                    <a:pt x="301" y="114"/>
                    <a:pt x="301" y="114"/>
                  </a:cubicBezTo>
                  <a:lnTo>
                    <a:pt x="301" y="182"/>
                  </a:lnTo>
                  <a:close/>
                  <a:moveTo>
                    <a:pt x="303" y="24"/>
                  </a:moveTo>
                  <a:cubicBezTo>
                    <a:pt x="280" y="24"/>
                    <a:pt x="280" y="24"/>
                    <a:pt x="280" y="24"/>
                  </a:cubicBezTo>
                  <a:cubicBezTo>
                    <a:pt x="280" y="1"/>
                    <a:pt x="280" y="1"/>
                    <a:pt x="280" y="1"/>
                  </a:cubicBezTo>
                  <a:cubicBezTo>
                    <a:pt x="303" y="1"/>
                    <a:pt x="303" y="1"/>
                    <a:pt x="303" y="1"/>
                  </a:cubicBezTo>
                  <a:lnTo>
                    <a:pt x="303" y="24"/>
                  </a:lnTo>
                  <a:close/>
                  <a:moveTo>
                    <a:pt x="430" y="182"/>
                  </a:moveTo>
                  <a:cubicBezTo>
                    <a:pt x="410" y="182"/>
                    <a:pt x="410" y="182"/>
                    <a:pt x="410" y="182"/>
                  </a:cubicBezTo>
                  <a:cubicBezTo>
                    <a:pt x="410" y="105"/>
                    <a:pt x="410" y="105"/>
                    <a:pt x="410" y="105"/>
                  </a:cubicBezTo>
                  <a:cubicBezTo>
                    <a:pt x="410" y="85"/>
                    <a:pt x="399" y="73"/>
                    <a:pt x="381" y="73"/>
                  </a:cubicBezTo>
                  <a:cubicBezTo>
                    <a:pt x="362" y="73"/>
                    <a:pt x="352" y="85"/>
                    <a:pt x="352" y="105"/>
                  </a:cubicBezTo>
                  <a:cubicBezTo>
                    <a:pt x="352" y="182"/>
                    <a:pt x="352" y="182"/>
                    <a:pt x="352" y="182"/>
                  </a:cubicBezTo>
                  <a:cubicBezTo>
                    <a:pt x="331" y="182"/>
                    <a:pt x="331" y="182"/>
                    <a:pt x="331" y="182"/>
                  </a:cubicBezTo>
                  <a:cubicBezTo>
                    <a:pt x="331" y="56"/>
                    <a:pt x="331" y="56"/>
                    <a:pt x="331" y="56"/>
                  </a:cubicBezTo>
                  <a:cubicBezTo>
                    <a:pt x="352" y="56"/>
                    <a:pt x="352" y="56"/>
                    <a:pt x="352" y="56"/>
                  </a:cubicBezTo>
                  <a:cubicBezTo>
                    <a:pt x="352" y="68"/>
                    <a:pt x="352" y="68"/>
                    <a:pt x="352" y="68"/>
                  </a:cubicBezTo>
                  <a:cubicBezTo>
                    <a:pt x="360" y="59"/>
                    <a:pt x="372" y="55"/>
                    <a:pt x="385" y="55"/>
                  </a:cubicBezTo>
                  <a:cubicBezTo>
                    <a:pt x="398" y="55"/>
                    <a:pt x="409" y="59"/>
                    <a:pt x="417" y="67"/>
                  </a:cubicBezTo>
                  <a:cubicBezTo>
                    <a:pt x="426" y="75"/>
                    <a:pt x="430" y="87"/>
                    <a:pt x="430" y="102"/>
                  </a:cubicBezTo>
                  <a:lnTo>
                    <a:pt x="430" y="182"/>
                  </a:lnTo>
                  <a:close/>
                  <a:moveTo>
                    <a:pt x="550" y="182"/>
                  </a:moveTo>
                  <a:cubicBezTo>
                    <a:pt x="529" y="182"/>
                    <a:pt x="529" y="182"/>
                    <a:pt x="529" y="182"/>
                  </a:cubicBezTo>
                  <a:cubicBezTo>
                    <a:pt x="529" y="113"/>
                    <a:pt x="529" y="113"/>
                    <a:pt x="529" y="113"/>
                  </a:cubicBezTo>
                  <a:cubicBezTo>
                    <a:pt x="529" y="56"/>
                    <a:pt x="529" y="56"/>
                    <a:pt x="529" y="56"/>
                  </a:cubicBezTo>
                  <a:cubicBezTo>
                    <a:pt x="550" y="56"/>
                    <a:pt x="550" y="56"/>
                    <a:pt x="550" y="56"/>
                  </a:cubicBezTo>
                  <a:cubicBezTo>
                    <a:pt x="550" y="113"/>
                    <a:pt x="550" y="113"/>
                    <a:pt x="550" y="113"/>
                  </a:cubicBezTo>
                  <a:lnTo>
                    <a:pt x="550" y="182"/>
                  </a:lnTo>
                  <a:close/>
                  <a:moveTo>
                    <a:pt x="551" y="24"/>
                  </a:moveTo>
                  <a:cubicBezTo>
                    <a:pt x="528" y="24"/>
                    <a:pt x="528" y="24"/>
                    <a:pt x="528" y="24"/>
                  </a:cubicBezTo>
                  <a:cubicBezTo>
                    <a:pt x="528" y="1"/>
                    <a:pt x="528" y="1"/>
                    <a:pt x="528" y="1"/>
                  </a:cubicBezTo>
                  <a:cubicBezTo>
                    <a:pt x="551" y="1"/>
                    <a:pt x="551" y="1"/>
                    <a:pt x="551" y="1"/>
                  </a:cubicBezTo>
                  <a:lnTo>
                    <a:pt x="551" y="24"/>
                  </a:lnTo>
                  <a:close/>
                  <a:moveTo>
                    <a:pt x="686" y="183"/>
                  </a:moveTo>
                  <a:cubicBezTo>
                    <a:pt x="651" y="183"/>
                    <a:pt x="631" y="160"/>
                    <a:pt x="631" y="119"/>
                  </a:cubicBezTo>
                  <a:cubicBezTo>
                    <a:pt x="631" y="79"/>
                    <a:pt x="651" y="55"/>
                    <a:pt x="683" y="55"/>
                  </a:cubicBezTo>
                  <a:cubicBezTo>
                    <a:pt x="715" y="55"/>
                    <a:pt x="735" y="78"/>
                    <a:pt x="735" y="116"/>
                  </a:cubicBezTo>
                  <a:cubicBezTo>
                    <a:pt x="735" y="125"/>
                    <a:pt x="735" y="125"/>
                    <a:pt x="735" y="125"/>
                  </a:cubicBezTo>
                  <a:cubicBezTo>
                    <a:pt x="652" y="125"/>
                    <a:pt x="652" y="125"/>
                    <a:pt x="652" y="125"/>
                  </a:cubicBezTo>
                  <a:cubicBezTo>
                    <a:pt x="652" y="151"/>
                    <a:pt x="664" y="165"/>
                    <a:pt x="687" y="165"/>
                  </a:cubicBezTo>
                  <a:cubicBezTo>
                    <a:pt x="700" y="165"/>
                    <a:pt x="708" y="161"/>
                    <a:pt x="718" y="151"/>
                  </a:cubicBezTo>
                  <a:cubicBezTo>
                    <a:pt x="719" y="150"/>
                    <a:pt x="719" y="150"/>
                    <a:pt x="719" y="150"/>
                  </a:cubicBezTo>
                  <a:cubicBezTo>
                    <a:pt x="733" y="163"/>
                    <a:pt x="733" y="163"/>
                    <a:pt x="733" y="163"/>
                  </a:cubicBezTo>
                  <a:cubicBezTo>
                    <a:pt x="732" y="164"/>
                    <a:pt x="732" y="164"/>
                    <a:pt x="732" y="164"/>
                  </a:cubicBezTo>
                  <a:cubicBezTo>
                    <a:pt x="720" y="176"/>
                    <a:pt x="708" y="183"/>
                    <a:pt x="686" y="183"/>
                  </a:cubicBezTo>
                  <a:close/>
                  <a:moveTo>
                    <a:pt x="652" y="109"/>
                  </a:moveTo>
                  <a:cubicBezTo>
                    <a:pt x="714" y="109"/>
                    <a:pt x="714" y="109"/>
                    <a:pt x="714" y="109"/>
                  </a:cubicBezTo>
                  <a:cubicBezTo>
                    <a:pt x="713" y="100"/>
                    <a:pt x="713" y="96"/>
                    <a:pt x="710" y="90"/>
                  </a:cubicBezTo>
                  <a:cubicBezTo>
                    <a:pt x="705" y="79"/>
                    <a:pt x="695" y="73"/>
                    <a:pt x="683" y="73"/>
                  </a:cubicBezTo>
                  <a:cubicBezTo>
                    <a:pt x="671" y="73"/>
                    <a:pt x="661" y="79"/>
                    <a:pt x="655" y="90"/>
                  </a:cubicBezTo>
                  <a:cubicBezTo>
                    <a:pt x="653" y="96"/>
                    <a:pt x="652" y="100"/>
                    <a:pt x="652" y="109"/>
                  </a:cubicBezTo>
                  <a:close/>
                  <a:moveTo>
                    <a:pt x="798" y="183"/>
                  </a:moveTo>
                  <a:cubicBezTo>
                    <a:pt x="775" y="183"/>
                    <a:pt x="759" y="178"/>
                    <a:pt x="746" y="165"/>
                  </a:cubicBezTo>
                  <a:cubicBezTo>
                    <a:pt x="745" y="164"/>
                    <a:pt x="745" y="164"/>
                    <a:pt x="745" y="164"/>
                  </a:cubicBezTo>
                  <a:cubicBezTo>
                    <a:pt x="759" y="150"/>
                    <a:pt x="759" y="150"/>
                    <a:pt x="759" y="150"/>
                  </a:cubicBezTo>
                  <a:cubicBezTo>
                    <a:pt x="760" y="151"/>
                    <a:pt x="760" y="151"/>
                    <a:pt x="760" y="151"/>
                  </a:cubicBezTo>
                  <a:cubicBezTo>
                    <a:pt x="769" y="161"/>
                    <a:pt x="781" y="165"/>
                    <a:pt x="797" y="165"/>
                  </a:cubicBezTo>
                  <a:cubicBezTo>
                    <a:pt x="809" y="165"/>
                    <a:pt x="829" y="163"/>
                    <a:pt x="829" y="145"/>
                  </a:cubicBezTo>
                  <a:cubicBezTo>
                    <a:pt x="829" y="134"/>
                    <a:pt x="823" y="129"/>
                    <a:pt x="809" y="128"/>
                  </a:cubicBezTo>
                  <a:cubicBezTo>
                    <a:pt x="789" y="126"/>
                    <a:pt x="789" y="126"/>
                    <a:pt x="789" y="126"/>
                  </a:cubicBezTo>
                  <a:cubicBezTo>
                    <a:pt x="764" y="124"/>
                    <a:pt x="751" y="113"/>
                    <a:pt x="751" y="92"/>
                  </a:cubicBezTo>
                  <a:cubicBezTo>
                    <a:pt x="751" y="70"/>
                    <a:pt x="770" y="55"/>
                    <a:pt x="798" y="55"/>
                  </a:cubicBezTo>
                  <a:cubicBezTo>
                    <a:pt x="816" y="55"/>
                    <a:pt x="832" y="59"/>
                    <a:pt x="843" y="68"/>
                  </a:cubicBezTo>
                  <a:cubicBezTo>
                    <a:pt x="844" y="69"/>
                    <a:pt x="844" y="69"/>
                    <a:pt x="844" y="69"/>
                  </a:cubicBezTo>
                  <a:cubicBezTo>
                    <a:pt x="830" y="83"/>
                    <a:pt x="830" y="83"/>
                    <a:pt x="830" y="83"/>
                  </a:cubicBezTo>
                  <a:cubicBezTo>
                    <a:pt x="829" y="82"/>
                    <a:pt x="829" y="82"/>
                    <a:pt x="829" y="82"/>
                  </a:cubicBezTo>
                  <a:cubicBezTo>
                    <a:pt x="821" y="76"/>
                    <a:pt x="811" y="73"/>
                    <a:pt x="798" y="73"/>
                  </a:cubicBezTo>
                  <a:cubicBezTo>
                    <a:pt x="781" y="73"/>
                    <a:pt x="771" y="79"/>
                    <a:pt x="771" y="92"/>
                  </a:cubicBezTo>
                  <a:cubicBezTo>
                    <a:pt x="771" y="102"/>
                    <a:pt x="778" y="107"/>
                    <a:pt x="792" y="108"/>
                  </a:cubicBezTo>
                  <a:cubicBezTo>
                    <a:pt x="811" y="110"/>
                    <a:pt x="811" y="110"/>
                    <a:pt x="811" y="110"/>
                  </a:cubicBezTo>
                  <a:cubicBezTo>
                    <a:pt x="827" y="112"/>
                    <a:pt x="849" y="117"/>
                    <a:pt x="849" y="144"/>
                  </a:cubicBezTo>
                  <a:cubicBezTo>
                    <a:pt x="849" y="168"/>
                    <a:pt x="829" y="183"/>
                    <a:pt x="798" y="183"/>
                  </a:cubicBezTo>
                  <a:close/>
                  <a:moveTo>
                    <a:pt x="894" y="182"/>
                  </a:moveTo>
                  <a:cubicBezTo>
                    <a:pt x="872" y="182"/>
                    <a:pt x="872" y="182"/>
                    <a:pt x="872" y="182"/>
                  </a:cubicBezTo>
                  <a:cubicBezTo>
                    <a:pt x="872" y="100"/>
                    <a:pt x="872" y="100"/>
                    <a:pt x="872" y="100"/>
                  </a:cubicBezTo>
                  <a:cubicBezTo>
                    <a:pt x="872" y="2"/>
                    <a:pt x="872" y="2"/>
                    <a:pt x="872" y="2"/>
                  </a:cubicBezTo>
                  <a:cubicBezTo>
                    <a:pt x="894" y="2"/>
                    <a:pt x="894" y="2"/>
                    <a:pt x="894" y="2"/>
                  </a:cubicBezTo>
                  <a:cubicBezTo>
                    <a:pt x="894" y="100"/>
                    <a:pt x="894" y="100"/>
                    <a:pt x="894" y="100"/>
                  </a:cubicBezTo>
                  <a:lnTo>
                    <a:pt x="894" y="182"/>
                  </a:lnTo>
                  <a:close/>
                  <a:moveTo>
                    <a:pt x="1085" y="182"/>
                  </a:moveTo>
                  <a:cubicBezTo>
                    <a:pt x="1063" y="182"/>
                    <a:pt x="1063" y="182"/>
                    <a:pt x="1063" y="182"/>
                  </a:cubicBezTo>
                  <a:cubicBezTo>
                    <a:pt x="1063" y="51"/>
                    <a:pt x="1063" y="51"/>
                    <a:pt x="1063" y="51"/>
                  </a:cubicBezTo>
                  <a:cubicBezTo>
                    <a:pt x="1017" y="154"/>
                    <a:pt x="1017" y="154"/>
                    <a:pt x="1017" y="154"/>
                  </a:cubicBezTo>
                  <a:cubicBezTo>
                    <a:pt x="999" y="154"/>
                    <a:pt x="999" y="154"/>
                    <a:pt x="999" y="154"/>
                  </a:cubicBezTo>
                  <a:cubicBezTo>
                    <a:pt x="952" y="51"/>
                    <a:pt x="952" y="51"/>
                    <a:pt x="952" y="51"/>
                  </a:cubicBezTo>
                  <a:cubicBezTo>
                    <a:pt x="952" y="182"/>
                    <a:pt x="952" y="182"/>
                    <a:pt x="952" y="182"/>
                  </a:cubicBezTo>
                  <a:cubicBezTo>
                    <a:pt x="930" y="182"/>
                    <a:pt x="930" y="182"/>
                    <a:pt x="930" y="182"/>
                  </a:cubicBezTo>
                  <a:cubicBezTo>
                    <a:pt x="930" y="2"/>
                    <a:pt x="930" y="2"/>
                    <a:pt x="930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1008" y="126"/>
                    <a:pt x="1008" y="126"/>
                    <a:pt x="1008" y="126"/>
                  </a:cubicBezTo>
                  <a:cubicBezTo>
                    <a:pt x="1064" y="2"/>
                    <a:pt x="1064" y="2"/>
                    <a:pt x="1064" y="2"/>
                  </a:cubicBezTo>
                  <a:cubicBezTo>
                    <a:pt x="1085" y="2"/>
                    <a:pt x="1085" y="2"/>
                    <a:pt x="1085" y="2"/>
                  </a:cubicBezTo>
                  <a:lnTo>
                    <a:pt x="1085" y="182"/>
                  </a:lnTo>
                  <a:close/>
                  <a:moveTo>
                    <a:pt x="1168" y="183"/>
                  </a:moveTo>
                  <a:cubicBezTo>
                    <a:pt x="1141" y="183"/>
                    <a:pt x="1123" y="176"/>
                    <a:pt x="1106" y="159"/>
                  </a:cubicBezTo>
                  <a:cubicBezTo>
                    <a:pt x="1106" y="158"/>
                    <a:pt x="1106" y="158"/>
                    <a:pt x="1106" y="158"/>
                  </a:cubicBezTo>
                  <a:cubicBezTo>
                    <a:pt x="1120" y="144"/>
                    <a:pt x="1120" y="144"/>
                    <a:pt x="1120" y="144"/>
                  </a:cubicBezTo>
                  <a:cubicBezTo>
                    <a:pt x="1121" y="145"/>
                    <a:pt x="1121" y="145"/>
                    <a:pt x="1121" y="145"/>
                  </a:cubicBezTo>
                  <a:cubicBezTo>
                    <a:pt x="1135" y="159"/>
                    <a:pt x="1148" y="164"/>
                    <a:pt x="1168" y="164"/>
                  </a:cubicBezTo>
                  <a:cubicBezTo>
                    <a:pt x="1194" y="164"/>
                    <a:pt x="1209" y="152"/>
                    <a:pt x="1209" y="132"/>
                  </a:cubicBezTo>
                  <a:cubicBezTo>
                    <a:pt x="1209" y="123"/>
                    <a:pt x="1207" y="116"/>
                    <a:pt x="1201" y="111"/>
                  </a:cubicBezTo>
                  <a:cubicBezTo>
                    <a:pt x="1196" y="106"/>
                    <a:pt x="1191" y="104"/>
                    <a:pt x="1179" y="102"/>
                  </a:cubicBezTo>
                  <a:cubicBezTo>
                    <a:pt x="1158" y="99"/>
                    <a:pt x="1158" y="99"/>
                    <a:pt x="1158" y="99"/>
                  </a:cubicBezTo>
                  <a:cubicBezTo>
                    <a:pt x="1143" y="97"/>
                    <a:pt x="1133" y="93"/>
                    <a:pt x="1125" y="86"/>
                  </a:cubicBezTo>
                  <a:cubicBezTo>
                    <a:pt x="1115" y="77"/>
                    <a:pt x="1111" y="66"/>
                    <a:pt x="1111" y="51"/>
                  </a:cubicBezTo>
                  <a:cubicBezTo>
                    <a:pt x="1111" y="20"/>
                    <a:pt x="1133" y="0"/>
                    <a:pt x="1169" y="0"/>
                  </a:cubicBezTo>
                  <a:cubicBezTo>
                    <a:pt x="1191" y="0"/>
                    <a:pt x="1207" y="6"/>
                    <a:pt x="1222" y="20"/>
                  </a:cubicBezTo>
                  <a:cubicBezTo>
                    <a:pt x="1223" y="21"/>
                    <a:pt x="1223" y="21"/>
                    <a:pt x="1223" y="21"/>
                  </a:cubicBezTo>
                  <a:cubicBezTo>
                    <a:pt x="1209" y="35"/>
                    <a:pt x="1209" y="35"/>
                    <a:pt x="1209" y="35"/>
                  </a:cubicBezTo>
                  <a:cubicBezTo>
                    <a:pt x="1208" y="34"/>
                    <a:pt x="1208" y="34"/>
                    <a:pt x="1208" y="34"/>
                  </a:cubicBezTo>
                  <a:cubicBezTo>
                    <a:pt x="1197" y="23"/>
                    <a:pt x="1185" y="19"/>
                    <a:pt x="1168" y="19"/>
                  </a:cubicBezTo>
                  <a:cubicBezTo>
                    <a:pt x="1146" y="19"/>
                    <a:pt x="1132" y="31"/>
                    <a:pt x="1132" y="51"/>
                  </a:cubicBezTo>
                  <a:cubicBezTo>
                    <a:pt x="1132" y="59"/>
                    <a:pt x="1134" y="66"/>
                    <a:pt x="1139" y="70"/>
                  </a:cubicBezTo>
                  <a:cubicBezTo>
                    <a:pt x="1144" y="75"/>
                    <a:pt x="1152" y="78"/>
                    <a:pt x="1162" y="79"/>
                  </a:cubicBezTo>
                  <a:cubicBezTo>
                    <a:pt x="1182" y="83"/>
                    <a:pt x="1182" y="83"/>
                    <a:pt x="1182" y="83"/>
                  </a:cubicBezTo>
                  <a:cubicBezTo>
                    <a:pt x="1199" y="85"/>
                    <a:pt x="1207" y="88"/>
                    <a:pt x="1215" y="96"/>
                  </a:cubicBezTo>
                  <a:cubicBezTo>
                    <a:pt x="1225" y="104"/>
                    <a:pt x="1231" y="117"/>
                    <a:pt x="1231" y="132"/>
                  </a:cubicBezTo>
                  <a:cubicBezTo>
                    <a:pt x="1231" y="163"/>
                    <a:pt x="1206" y="183"/>
                    <a:pt x="1168" y="183"/>
                  </a:cubicBezTo>
                  <a:close/>
                  <a:moveTo>
                    <a:pt x="499" y="182"/>
                  </a:moveTo>
                  <a:cubicBezTo>
                    <a:pt x="495" y="182"/>
                    <a:pt x="495" y="182"/>
                    <a:pt x="495" y="182"/>
                  </a:cubicBezTo>
                  <a:cubicBezTo>
                    <a:pt x="475" y="182"/>
                    <a:pt x="462" y="168"/>
                    <a:pt x="462" y="147"/>
                  </a:cubicBezTo>
                  <a:cubicBezTo>
                    <a:pt x="462" y="73"/>
                    <a:pt x="462" y="73"/>
                    <a:pt x="462" y="73"/>
                  </a:cubicBezTo>
                  <a:cubicBezTo>
                    <a:pt x="446" y="73"/>
                    <a:pt x="446" y="73"/>
                    <a:pt x="446" y="73"/>
                  </a:cubicBezTo>
                  <a:cubicBezTo>
                    <a:pt x="446" y="56"/>
                    <a:pt x="446" y="56"/>
                    <a:pt x="446" y="56"/>
                  </a:cubicBezTo>
                  <a:cubicBezTo>
                    <a:pt x="462" y="56"/>
                    <a:pt x="462" y="56"/>
                    <a:pt x="462" y="56"/>
                  </a:cubicBezTo>
                  <a:cubicBezTo>
                    <a:pt x="462" y="19"/>
                    <a:pt x="462" y="19"/>
                    <a:pt x="462" y="19"/>
                  </a:cubicBezTo>
                  <a:cubicBezTo>
                    <a:pt x="482" y="19"/>
                    <a:pt x="482" y="19"/>
                    <a:pt x="482" y="19"/>
                  </a:cubicBezTo>
                  <a:cubicBezTo>
                    <a:pt x="482" y="56"/>
                    <a:pt x="482" y="56"/>
                    <a:pt x="482" y="56"/>
                  </a:cubicBezTo>
                  <a:cubicBezTo>
                    <a:pt x="509" y="56"/>
                    <a:pt x="509" y="56"/>
                    <a:pt x="509" y="56"/>
                  </a:cubicBezTo>
                  <a:cubicBezTo>
                    <a:pt x="509" y="73"/>
                    <a:pt x="509" y="73"/>
                    <a:pt x="509" y="73"/>
                  </a:cubicBezTo>
                  <a:cubicBezTo>
                    <a:pt x="482" y="73"/>
                    <a:pt x="482" y="73"/>
                    <a:pt x="482" y="73"/>
                  </a:cubicBezTo>
                  <a:cubicBezTo>
                    <a:pt x="482" y="147"/>
                    <a:pt x="482" y="147"/>
                    <a:pt x="482" y="147"/>
                  </a:cubicBezTo>
                  <a:cubicBezTo>
                    <a:pt x="482" y="158"/>
                    <a:pt x="488" y="164"/>
                    <a:pt x="498" y="164"/>
                  </a:cubicBezTo>
                  <a:cubicBezTo>
                    <a:pt x="499" y="164"/>
                    <a:pt x="499" y="164"/>
                    <a:pt x="499" y="164"/>
                  </a:cubicBezTo>
                  <a:cubicBezTo>
                    <a:pt x="499" y="165"/>
                    <a:pt x="499" y="165"/>
                    <a:pt x="499" y="165"/>
                  </a:cubicBezTo>
                  <a:lnTo>
                    <a:pt x="499" y="182"/>
                  </a:lnTo>
                  <a:close/>
                  <a:moveTo>
                    <a:pt x="616" y="182"/>
                  </a:moveTo>
                  <a:cubicBezTo>
                    <a:pt x="612" y="182"/>
                    <a:pt x="612" y="182"/>
                    <a:pt x="612" y="182"/>
                  </a:cubicBezTo>
                  <a:cubicBezTo>
                    <a:pt x="591" y="182"/>
                    <a:pt x="579" y="169"/>
                    <a:pt x="579" y="148"/>
                  </a:cubicBezTo>
                  <a:cubicBezTo>
                    <a:pt x="579" y="2"/>
                    <a:pt x="579" y="2"/>
                    <a:pt x="579" y="2"/>
                  </a:cubicBezTo>
                  <a:cubicBezTo>
                    <a:pt x="600" y="2"/>
                    <a:pt x="600" y="2"/>
                    <a:pt x="600" y="2"/>
                  </a:cubicBezTo>
                  <a:cubicBezTo>
                    <a:pt x="600" y="147"/>
                    <a:pt x="600" y="147"/>
                    <a:pt x="600" y="147"/>
                  </a:cubicBezTo>
                  <a:cubicBezTo>
                    <a:pt x="600" y="159"/>
                    <a:pt x="604" y="164"/>
                    <a:pt x="615" y="164"/>
                  </a:cubicBezTo>
                  <a:cubicBezTo>
                    <a:pt x="616" y="164"/>
                    <a:pt x="616" y="164"/>
                    <a:pt x="616" y="164"/>
                  </a:cubicBezTo>
                  <a:cubicBezTo>
                    <a:pt x="616" y="165"/>
                    <a:pt x="616" y="165"/>
                    <a:pt x="616" y="165"/>
                  </a:cubicBezTo>
                  <a:lnTo>
                    <a:pt x="616" y="182"/>
                  </a:lnTo>
                  <a:close/>
                </a:path>
              </a:pathLst>
            </a:custGeom>
            <a:solidFill>
              <a:srgbClr val="7778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6"/>
            <p:cNvSpPr>
              <a:spLocks noEditPoints="1"/>
            </p:cNvSpPr>
            <p:nvPr userDrawn="1"/>
          </p:nvSpPr>
          <p:spPr bwMode="gray">
            <a:xfrm>
              <a:off x="7474095" y="5549900"/>
              <a:ext cx="76200" cy="41275"/>
            </a:xfrm>
            <a:custGeom>
              <a:avLst/>
              <a:gdLst>
                <a:gd name="T0" fmla="*/ 12 w 48"/>
                <a:gd name="T1" fmla="*/ 4 h 26"/>
                <a:gd name="T2" fmla="*/ 12 w 48"/>
                <a:gd name="T3" fmla="*/ 26 h 26"/>
                <a:gd name="T4" fmla="*/ 7 w 48"/>
                <a:gd name="T5" fmla="*/ 26 h 26"/>
                <a:gd name="T6" fmla="*/ 7 w 48"/>
                <a:gd name="T7" fmla="*/ 4 h 26"/>
                <a:gd name="T8" fmla="*/ 0 w 48"/>
                <a:gd name="T9" fmla="*/ 4 h 26"/>
                <a:gd name="T10" fmla="*/ 0 w 48"/>
                <a:gd name="T11" fmla="*/ 0 h 26"/>
                <a:gd name="T12" fmla="*/ 18 w 48"/>
                <a:gd name="T13" fmla="*/ 0 h 26"/>
                <a:gd name="T14" fmla="*/ 18 w 48"/>
                <a:gd name="T15" fmla="*/ 4 h 26"/>
                <a:gd name="T16" fmla="*/ 12 w 48"/>
                <a:gd name="T17" fmla="*/ 4 h 26"/>
                <a:gd name="T18" fmla="*/ 43 w 48"/>
                <a:gd name="T19" fmla="*/ 26 h 26"/>
                <a:gd name="T20" fmla="*/ 43 w 48"/>
                <a:gd name="T21" fmla="*/ 9 h 26"/>
                <a:gd name="T22" fmla="*/ 37 w 48"/>
                <a:gd name="T23" fmla="*/ 20 h 26"/>
                <a:gd name="T24" fmla="*/ 33 w 48"/>
                <a:gd name="T25" fmla="*/ 20 h 26"/>
                <a:gd name="T26" fmla="*/ 27 w 48"/>
                <a:gd name="T27" fmla="*/ 9 h 26"/>
                <a:gd name="T28" fmla="*/ 27 w 48"/>
                <a:gd name="T29" fmla="*/ 26 h 26"/>
                <a:gd name="T30" fmla="*/ 23 w 48"/>
                <a:gd name="T31" fmla="*/ 26 h 26"/>
                <a:gd name="T32" fmla="*/ 23 w 48"/>
                <a:gd name="T33" fmla="*/ 0 h 26"/>
                <a:gd name="T34" fmla="*/ 27 w 48"/>
                <a:gd name="T35" fmla="*/ 0 h 26"/>
                <a:gd name="T36" fmla="*/ 35 w 48"/>
                <a:gd name="T37" fmla="*/ 15 h 26"/>
                <a:gd name="T38" fmla="*/ 43 w 48"/>
                <a:gd name="T39" fmla="*/ 0 h 26"/>
                <a:gd name="T40" fmla="*/ 48 w 48"/>
                <a:gd name="T41" fmla="*/ 0 h 26"/>
                <a:gd name="T42" fmla="*/ 48 w 48"/>
                <a:gd name="T43" fmla="*/ 26 h 26"/>
                <a:gd name="T44" fmla="*/ 43 w 48"/>
                <a:gd name="T4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8" h="26">
                  <a:moveTo>
                    <a:pt x="12" y="4"/>
                  </a:moveTo>
                  <a:lnTo>
                    <a:pt x="12" y="26"/>
                  </a:lnTo>
                  <a:lnTo>
                    <a:pt x="7" y="26"/>
                  </a:lnTo>
                  <a:lnTo>
                    <a:pt x="7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4"/>
                  </a:lnTo>
                  <a:lnTo>
                    <a:pt x="12" y="4"/>
                  </a:lnTo>
                  <a:close/>
                  <a:moveTo>
                    <a:pt x="43" y="26"/>
                  </a:moveTo>
                  <a:lnTo>
                    <a:pt x="43" y="9"/>
                  </a:lnTo>
                  <a:lnTo>
                    <a:pt x="37" y="20"/>
                  </a:lnTo>
                  <a:lnTo>
                    <a:pt x="33" y="20"/>
                  </a:lnTo>
                  <a:lnTo>
                    <a:pt x="27" y="9"/>
                  </a:lnTo>
                  <a:lnTo>
                    <a:pt x="27" y="26"/>
                  </a:lnTo>
                  <a:lnTo>
                    <a:pt x="23" y="26"/>
                  </a:lnTo>
                  <a:lnTo>
                    <a:pt x="23" y="0"/>
                  </a:lnTo>
                  <a:lnTo>
                    <a:pt x="27" y="0"/>
                  </a:lnTo>
                  <a:lnTo>
                    <a:pt x="35" y="15"/>
                  </a:lnTo>
                  <a:lnTo>
                    <a:pt x="43" y="0"/>
                  </a:lnTo>
                  <a:lnTo>
                    <a:pt x="48" y="0"/>
                  </a:lnTo>
                  <a:lnTo>
                    <a:pt x="48" y="26"/>
                  </a:lnTo>
                  <a:lnTo>
                    <a:pt x="43" y="26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7"/>
            <p:cNvSpPr>
              <a:spLocks noEditPoints="1"/>
            </p:cNvSpPr>
            <p:nvPr userDrawn="1"/>
          </p:nvSpPr>
          <p:spPr bwMode="gray">
            <a:xfrm>
              <a:off x="4813445" y="5438775"/>
              <a:ext cx="549275" cy="493712"/>
            </a:xfrm>
            <a:custGeom>
              <a:avLst/>
              <a:gdLst>
                <a:gd name="T0" fmla="*/ 351 w 351"/>
                <a:gd name="T1" fmla="*/ 69 h 314"/>
                <a:gd name="T2" fmla="*/ 319 w 351"/>
                <a:gd name="T3" fmla="*/ 87 h 314"/>
                <a:gd name="T4" fmla="*/ 264 w 351"/>
                <a:gd name="T5" fmla="*/ 32 h 314"/>
                <a:gd name="T6" fmla="*/ 283 w 351"/>
                <a:gd name="T7" fmla="*/ 0 h 314"/>
                <a:gd name="T8" fmla="*/ 351 w 351"/>
                <a:gd name="T9" fmla="*/ 69 h 314"/>
                <a:gd name="T10" fmla="*/ 37 w 351"/>
                <a:gd name="T11" fmla="*/ 163 h 314"/>
                <a:gd name="T12" fmla="*/ 0 w 351"/>
                <a:gd name="T13" fmla="*/ 163 h 314"/>
                <a:gd name="T14" fmla="*/ 25 w 351"/>
                <a:gd name="T15" fmla="*/ 257 h 314"/>
                <a:gd name="T16" fmla="*/ 57 w 351"/>
                <a:gd name="T17" fmla="*/ 239 h 314"/>
                <a:gd name="T18" fmla="*/ 37 w 351"/>
                <a:gd name="T19" fmla="*/ 163 h 314"/>
                <a:gd name="T20" fmla="*/ 130 w 351"/>
                <a:gd name="T21" fmla="*/ 63 h 314"/>
                <a:gd name="T22" fmla="*/ 112 w 351"/>
                <a:gd name="T23" fmla="*/ 31 h 314"/>
                <a:gd name="T24" fmla="*/ 37 w 351"/>
                <a:gd name="T25" fmla="*/ 163 h 314"/>
                <a:gd name="T26" fmla="*/ 72 w 351"/>
                <a:gd name="T27" fmla="*/ 163 h 314"/>
                <a:gd name="T28" fmla="*/ 130 w 351"/>
                <a:gd name="T29" fmla="*/ 63 h 314"/>
                <a:gd name="T30" fmla="*/ 88 w 351"/>
                <a:gd name="T31" fmla="*/ 221 h 314"/>
                <a:gd name="T32" fmla="*/ 57 w 351"/>
                <a:gd name="T33" fmla="*/ 239 h 314"/>
                <a:gd name="T34" fmla="*/ 188 w 351"/>
                <a:gd name="T35" fmla="*/ 314 h 314"/>
                <a:gd name="T36" fmla="*/ 188 w 351"/>
                <a:gd name="T37" fmla="*/ 278 h 314"/>
                <a:gd name="T38" fmla="*/ 88 w 351"/>
                <a:gd name="T39" fmla="*/ 22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1" h="314">
                  <a:moveTo>
                    <a:pt x="351" y="69"/>
                  </a:moveTo>
                  <a:cubicBezTo>
                    <a:pt x="319" y="87"/>
                    <a:pt x="319" y="87"/>
                    <a:pt x="319" y="87"/>
                  </a:cubicBezTo>
                  <a:cubicBezTo>
                    <a:pt x="306" y="64"/>
                    <a:pt x="287" y="45"/>
                    <a:pt x="264" y="32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311" y="16"/>
                    <a:pt x="335" y="40"/>
                    <a:pt x="351" y="69"/>
                  </a:cubicBezTo>
                  <a:close/>
                  <a:moveTo>
                    <a:pt x="37" y="163"/>
                  </a:moveTo>
                  <a:cubicBezTo>
                    <a:pt x="0" y="163"/>
                    <a:pt x="0" y="163"/>
                    <a:pt x="0" y="163"/>
                  </a:cubicBezTo>
                  <a:cubicBezTo>
                    <a:pt x="0" y="197"/>
                    <a:pt x="9" y="230"/>
                    <a:pt x="25" y="257"/>
                  </a:cubicBezTo>
                  <a:cubicBezTo>
                    <a:pt x="57" y="239"/>
                    <a:pt x="57" y="239"/>
                    <a:pt x="57" y="239"/>
                  </a:cubicBezTo>
                  <a:cubicBezTo>
                    <a:pt x="44" y="216"/>
                    <a:pt x="37" y="190"/>
                    <a:pt x="37" y="163"/>
                  </a:cubicBezTo>
                  <a:close/>
                  <a:moveTo>
                    <a:pt x="130" y="63"/>
                  </a:moveTo>
                  <a:cubicBezTo>
                    <a:pt x="112" y="31"/>
                    <a:pt x="112" y="31"/>
                    <a:pt x="112" y="31"/>
                  </a:cubicBezTo>
                  <a:cubicBezTo>
                    <a:pt x="67" y="58"/>
                    <a:pt x="37" y="107"/>
                    <a:pt x="37" y="163"/>
                  </a:cubicBezTo>
                  <a:cubicBezTo>
                    <a:pt x="72" y="163"/>
                    <a:pt x="72" y="163"/>
                    <a:pt x="72" y="163"/>
                  </a:cubicBezTo>
                  <a:cubicBezTo>
                    <a:pt x="72" y="120"/>
                    <a:pt x="96" y="83"/>
                    <a:pt x="130" y="63"/>
                  </a:cubicBezTo>
                  <a:close/>
                  <a:moveTo>
                    <a:pt x="88" y="221"/>
                  </a:moveTo>
                  <a:cubicBezTo>
                    <a:pt x="57" y="239"/>
                    <a:pt x="57" y="239"/>
                    <a:pt x="57" y="239"/>
                  </a:cubicBezTo>
                  <a:cubicBezTo>
                    <a:pt x="83" y="284"/>
                    <a:pt x="132" y="314"/>
                    <a:pt x="188" y="314"/>
                  </a:cubicBezTo>
                  <a:cubicBezTo>
                    <a:pt x="188" y="278"/>
                    <a:pt x="188" y="278"/>
                    <a:pt x="188" y="278"/>
                  </a:cubicBezTo>
                  <a:cubicBezTo>
                    <a:pt x="145" y="278"/>
                    <a:pt x="108" y="255"/>
                    <a:pt x="88" y="221"/>
                  </a:cubicBezTo>
                  <a:close/>
                </a:path>
              </a:pathLst>
            </a:custGeom>
            <a:solidFill>
              <a:srgbClr val="ACDA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8"/>
            <p:cNvSpPr>
              <a:spLocks noEditPoints="1"/>
            </p:cNvSpPr>
            <p:nvPr userDrawn="1"/>
          </p:nvSpPr>
          <p:spPr bwMode="gray">
            <a:xfrm>
              <a:off x="4813445" y="5397500"/>
              <a:ext cx="442913" cy="593725"/>
            </a:xfrm>
            <a:custGeom>
              <a:avLst/>
              <a:gdLst>
                <a:gd name="T0" fmla="*/ 25 w 283"/>
                <a:gd name="T1" fmla="*/ 283 h 377"/>
                <a:gd name="T2" fmla="*/ 57 w 283"/>
                <a:gd name="T3" fmla="*/ 265 h 377"/>
                <a:gd name="T4" fmla="*/ 188 w 283"/>
                <a:gd name="T5" fmla="*/ 340 h 377"/>
                <a:gd name="T6" fmla="*/ 264 w 283"/>
                <a:gd name="T7" fmla="*/ 320 h 377"/>
                <a:gd name="T8" fmla="*/ 282 w 283"/>
                <a:gd name="T9" fmla="*/ 352 h 377"/>
                <a:gd name="T10" fmla="*/ 188 w 283"/>
                <a:gd name="T11" fmla="*/ 377 h 377"/>
                <a:gd name="T12" fmla="*/ 25 w 283"/>
                <a:gd name="T13" fmla="*/ 283 h 377"/>
                <a:gd name="T14" fmla="*/ 188 w 283"/>
                <a:gd name="T15" fmla="*/ 37 h 377"/>
                <a:gd name="T16" fmla="*/ 264 w 283"/>
                <a:gd name="T17" fmla="*/ 58 h 377"/>
                <a:gd name="T18" fmla="*/ 283 w 283"/>
                <a:gd name="T19" fmla="*/ 26 h 377"/>
                <a:gd name="T20" fmla="*/ 188 w 283"/>
                <a:gd name="T21" fmla="*/ 0 h 377"/>
                <a:gd name="T22" fmla="*/ 0 w 283"/>
                <a:gd name="T23" fmla="*/ 189 h 377"/>
                <a:gd name="T24" fmla="*/ 37 w 283"/>
                <a:gd name="T25" fmla="*/ 189 h 377"/>
                <a:gd name="T26" fmla="*/ 188 w 283"/>
                <a:gd name="T27" fmla="*/ 37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3" h="377">
                  <a:moveTo>
                    <a:pt x="25" y="283"/>
                  </a:moveTo>
                  <a:cubicBezTo>
                    <a:pt x="57" y="265"/>
                    <a:pt x="57" y="265"/>
                    <a:pt x="57" y="265"/>
                  </a:cubicBezTo>
                  <a:cubicBezTo>
                    <a:pt x="83" y="310"/>
                    <a:pt x="132" y="340"/>
                    <a:pt x="188" y="340"/>
                  </a:cubicBezTo>
                  <a:cubicBezTo>
                    <a:pt x="216" y="340"/>
                    <a:pt x="241" y="332"/>
                    <a:pt x="264" y="320"/>
                  </a:cubicBezTo>
                  <a:cubicBezTo>
                    <a:pt x="282" y="352"/>
                    <a:pt x="282" y="352"/>
                    <a:pt x="282" y="352"/>
                  </a:cubicBezTo>
                  <a:cubicBezTo>
                    <a:pt x="255" y="368"/>
                    <a:pt x="222" y="377"/>
                    <a:pt x="188" y="377"/>
                  </a:cubicBezTo>
                  <a:cubicBezTo>
                    <a:pt x="118" y="377"/>
                    <a:pt x="58" y="339"/>
                    <a:pt x="25" y="283"/>
                  </a:cubicBezTo>
                  <a:close/>
                  <a:moveTo>
                    <a:pt x="188" y="37"/>
                  </a:moveTo>
                  <a:cubicBezTo>
                    <a:pt x="216" y="37"/>
                    <a:pt x="242" y="45"/>
                    <a:pt x="264" y="58"/>
                  </a:cubicBezTo>
                  <a:cubicBezTo>
                    <a:pt x="283" y="26"/>
                    <a:pt x="283" y="26"/>
                    <a:pt x="283" y="26"/>
                  </a:cubicBezTo>
                  <a:cubicBezTo>
                    <a:pt x="255" y="10"/>
                    <a:pt x="222" y="0"/>
                    <a:pt x="188" y="0"/>
                  </a:cubicBezTo>
                  <a:cubicBezTo>
                    <a:pt x="84" y="0"/>
                    <a:pt x="0" y="85"/>
                    <a:pt x="0" y="189"/>
                  </a:cubicBezTo>
                  <a:cubicBezTo>
                    <a:pt x="37" y="189"/>
                    <a:pt x="37" y="189"/>
                    <a:pt x="37" y="189"/>
                  </a:cubicBezTo>
                  <a:cubicBezTo>
                    <a:pt x="37" y="105"/>
                    <a:pt x="104" y="37"/>
                    <a:pt x="188" y="37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9"/>
            <p:cNvSpPr>
              <a:spLocks noEditPoints="1"/>
            </p:cNvSpPr>
            <p:nvPr userDrawn="1"/>
          </p:nvSpPr>
          <p:spPr bwMode="gray">
            <a:xfrm>
              <a:off x="4926157" y="5511800"/>
              <a:ext cx="476250" cy="365125"/>
            </a:xfrm>
            <a:custGeom>
              <a:avLst/>
              <a:gdLst>
                <a:gd name="T0" fmla="*/ 247 w 304"/>
                <a:gd name="T1" fmla="*/ 40 h 231"/>
                <a:gd name="T2" fmla="*/ 279 w 304"/>
                <a:gd name="T3" fmla="*/ 22 h 231"/>
                <a:gd name="T4" fmla="*/ 304 w 304"/>
                <a:gd name="T5" fmla="*/ 116 h 231"/>
                <a:gd name="T6" fmla="*/ 279 w 304"/>
                <a:gd name="T7" fmla="*/ 210 h 231"/>
                <a:gd name="T8" fmla="*/ 247 w 304"/>
                <a:gd name="T9" fmla="*/ 191 h 231"/>
                <a:gd name="T10" fmla="*/ 267 w 304"/>
                <a:gd name="T11" fmla="*/ 116 h 231"/>
                <a:gd name="T12" fmla="*/ 247 w 304"/>
                <a:gd name="T13" fmla="*/ 40 h 231"/>
                <a:gd name="T14" fmla="*/ 223 w 304"/>
                <a:gd name="T15" fmla="*/ 222 h 231"/>
                <a:gd name="T16" fmla="*/ 198 w 304"/>
                <a:gd name="T17" fmla="*/ 197 h 231"/>
                <a:gd name="T18" fmla="*/ 116 w 304"/>
                <a:gd name="T19" fmla="*/ 231 h 231"/>
                <a:gd name="T20" fmla="*/ 0 w 304"/>
                <a:gd name="T21" fmla="*/ 116 h 231"/>
                <a:gd name="T22" fmla="*/ 116 w 304"/>
                <a:gd name="T23" fmla="*/ 0 h 231"/>
                <a:gd name="T24" fmla="*/ 231 w 304"/>
                <a:gd name="T25" fmla="*/ 116 h 231"/>
                <a:gd name="T26" fmla="*/ 216 w 304"/>
                <a:gd name="T27" fmla="*/ 173 h 231"/>
                <a:gd name="T28" fmla="*/ 247 w 304"/>
                <a:gd name="T29" fmla="*/ 191 h 231"/>
                <a:gd name="T30" fmla="*/ 223 w 304"/>
                <a:gd name="T31" fmla="*/ 222 h 231"/>
                <a:gd name="T32" fmla="*/ 195 w 304"/>
                <a:gd name="T33" fmla="*/ 116 h 231"/>
                <a:gd name="T34" fmla="*/ 116 w 304"/>
                <a:gd name="T35" fmla="*/ 37 h 231"/>
                <a:gd name="T36" fmla="*/ 37 w 304"/>
                <a:gd name="T37" fmla="*/ 116 h 231"/>
                <a:gd name="T38" fmla="*/ 116 w 304"/>
                <a:gd name="T39" fmla="*/ 194 h 231"/>
                <a:gd name="T40" fmla="*/ 195 w 304"/>
                <a:gd name="T41" fmla="*/ 116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4" h="231">
                  <a:moveTo>
                    <a:pt x="247" y="40"/>
                  </a:moveTo>
                  <a:cubicBezTo>
                    <a:pt x="279" y="22"/>
                    <a:pt x="279" y="22"/>
                    <a:pt x="279" y="22"/>
                  </a:cubicBezTo>
                  <a:cubicBezTo>
                    <a:pt x="295" y="49"/>
                    <a:pt x="304" y="81"/>
                    <a:pt x="304" y="116"/>
                  </a:cubicBezTo>
                  <a:cubicBezTo>
                    <a:pt x="304" y="150"/>
                    <a:pt x="295" y="182"/>
                    <a:pt x="279" y="210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60" y="169"/>
                    <a:pt x="267" y="143"/>
                    <a:pt x="267" y="116"/>
                  </a:cubicBezTo>
                  <a:cubicBezTo>
                    <a:pt x="267" y="88"/>
                    <a:pt x="260" y="62"/>
                    <a:pt x="247" y="40"/>
                  </a:cubicBezTo>
                  <a:close/>
                  <a:moveTo>
                    <a:pt x="223" y="222"/>
                  </a:moveTo>
                  <a:cubicBezTo>
                    <a:pt x="198" y="197"/>
                    <a:pt x="198" y="197"/>
                    <a:pt x="198" y="197"/>
                  </a:cubicBezTo>
                  <a:cubicBezTo>
                    <a:pt x="177" y="218"/>
                    <a:pt x="148" y="231"/>
                    <a:pt x="116" y="231"/>
                  </a:cubicBezTo>
                  <a:cubicBezTo>
                    <a:pt x="52" y="231"/>
                    <a:pt x="0" y="179"/>
                    <a:pt x="0" y="116"/>
                  </a:cubicBezTo>
                  <a:cubicBezTo>
                    <a:pt x="0" y="52"/>
                    <a:pt x="52" y="0"/>
                    <a:pt x="116" y="0"/>
                  </a:cubicBezTo>
                  <a:cubicBezTo>
                    <a:pt x="180" y="0"/>
                    <a:pt x="231" y="52"/>
                    <a:pt x="231" y="116"/>
                  </a:cubicBezTo>
                  <a:cubicBezTo>
                    <a:pt x="231" y="137"/>
                    <a:pt x="226" y="156"/>
                    <a:pt x="216" y="173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40" y="203"/>
                    <a:pt x="232" y="213"/>
                    <a:pt x="223" y="222"/>
                  </a:cubicBezTo>
                  <a:close/>
                  <a:moveTo>
                    <a:pt x="195" y="116"/>
                  </a:moveTo>
                  <a:cubicBezTo>
                    <a:pt x="195" y="72"/>
                    <a:pt x="159" y="37"/>
                    <a:pt x="116" y="37"/>
                  </a:cubicBezTo>
                  <a:cubicBezTo>
                    <a:pt x="72" y="37"/>
                    <a:pt x="37" y="72"/>
                    <a:pt x="37" y="116"/>
                  </a:cubicBezTo>
                  <a:cubicBezTo>
                    <a:pt x="37" y="159"/>
                    <a:pt x="72" y="194"/>
                    <a:pt x="116" y="194"/>
                  </a:cubicBezTo>
                  <a:cubicBezTo>
                    <a:pt x="159" y="194"/>
                    <a:pt x="195" y="159"/>
                    <a:pt x="195" y="116"/>
                  </a:cubicBezTo>
                  <a:close/>
                </a:path>
              </a:pathLst>
            </a:custGeom>
            <a:solidFill>
              <a:srgbClr val="743C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5467" r:id="rId1"/>
    <p:sldLayoutId id="2147485468" r:id="rId2"/>
    <p:sldLayoutId id="2147485469" r:id="rId3"/>
    <p:sldLayoutId id="2147485470" r:id="rId4"/>
    <p:sldLayoutId id="2147485471" r:id="rId5"/>
    <p:sldLayoutId id="2147485472" r:id="rId6"/>
    <p:sldLayoutId id="2147485474" r:id="rId7"/>
    <p:sldLayoutId id="2147485475" r:id="rId8"/>
    <p:sldLayoutId id="2147485477" r:id="rId9"/>
    <p:sldLayoutId id="2147485478" r:id="rId10"/>
    <p:sldLayoutId id="2147485483" r:id="rId11"/>
    <p:sldLayoutId id="2147485484" r:id="rId12"/>
    <p:sldLayoutId id="2147485481" r:id="rId13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kern="1200">
          <a:solidFill>
            <a:srgbClr val="006A71"/>
          </a:solidFill>
          <a:latin typeface="+mn-lt"/>
          <a:ea typeface="ＭＳ Ｐゴシック" charset="-128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6A7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6A7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6A7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6A7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6A7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6A7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6A7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6A71"/>
          </a:solidFill>
          <a:latin typeface="Arial" charset="0"/>
        </a:defRPr>
      </a:lvl9pPr>
    </p:titleStyle>
    <p:bodyStyle>
      <a:lvl1pPr marL="230188" indent="-2301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rgbClr val="414343"/>
          </a:solidFill>
          <a:latin typeface="+mn-lt"/>
          <a:ea typeface="ＭＳ Ｐゴシック" charset="-128"/>
          <a:cs typeface="+mn-cs"/>
        </a:defRPr>
      </a:lvl1pPr>
      <a:lvl2pPr marL="457200" indent="-234950" algn="l" rtl="0" eaLnBrk="1" fontAlgn="base" hangingPunct="1">
        <a:spcBef>
          <a:spcPct val="20000"/>
        </a:spcBef>
        <a:spcAft>
          <a:spcPct val="0"/>
        </a:spcAft>
        <a:buFont typeface="Lucida Grande" charset="0"/>
        <a:buChar char="&gt;"/>
        <a:defRPr sz="1600" kern="1200">
          <a:solidFill>
            <a:srgbClr val="414343"/>
          </a:solidFill>
          <a:latin typeface="+mn-lt"/>
          <a:ea typeface="ＭＳ Ｐゴシック" charset="-128"/>
          <a:cs typeface="+mn-cs"/>
        </a:defRPr>
      </a:lvl2pPr>
      <a:lvl3pPr marL="679450" indent="-222250" algn="l" rtl="0" eaLnBrk="1" fontAlgn="base" hangingPunct="1">
        <a:spcBef>
          <a:spcPct val="20000"/>
        </a:spcBef>
        <a:spcAft>
          <a:spcPct val="0"/>
        </a:spcAft>
        <a:buFont typeface="Lucida Grande" charset="0"/>
        <a:buChar char="-"/>
        <a:defRPr sz="1600" kern="1200">
          <a:solidFill>
            <a:srgbClr val="414343"/>
          </a:solidFill>
          <a:latin typeface="+mn-lt"/>
          <a:ea typeface="ＭＳ Ｐゴシック" charset="-128"/>
          <a:cs typeface="+mn-cs"/>
        </a:defRPr>
      </a:lvl3pPr>
      <a:lvl4pPr marL="914400" indent="-2349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rgbClr val="414343"/>
          </a:solidFill>
          <a:latin typeface="+mn-lt"/>
          <a:ea typeface="ＭＳ Ｐゴシック" charset="-128"/>
          <a:cs typeface="+mn-cs"/>
        </a:defRPr>
      </a:lvl4pPr>
      <a:lvl5pPr marL="1144588" indent="-2222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rgbClr val="414343"/>
          </a:solidFill>
          <a:latin typeface="+mn-lt"/>
          <a:ea typeface="ＭＳ Ｐゴシック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" Target="slide15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g"/><Relationship Id="rId13" Type="http://schemas.openxmlformats.org/officeDocument/2006/relationships/image" Target="../media/image44.jpg"/><Relationship Id="rId3" Type="http://schemas.openxmlformats.org/officeDocument/2006/relationships/hyperlink" Target="http://www.burtchworks.com/2017/06/19/2017-sas-r-python-flash-survey-results/" TargetMode="External"/><Relationship Id="rId7" Type="http://schemas.openxmlformats.org/officeDocument/2006/relationships/image" Target="../media/image38.jpg"/><Relationship Id="rId12" Type="http://schemas.openxmlformats.org/officeDocument/2006/relationships/image" Target="../media/image43.jpg"/><Relationship Id="rId17" Type="http://schemas.openxmlformats.org/officeDocument/2006/relationships/image" Target="../media/image48.png"/><Relationship Id="rId2" Type="http://schemas.openxmlformats.org/officeDocument/2006/relationships/notesSlide" Target="../notesSlides/notesSlide11.xml"/><Relationship Id="rId16" Type="http://schemas.openxmlformats.org/officeDocument/2006/relationships/image" Target="../media/image47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7.png"/><Relationship Id="rId11" Type="http://schemas.openxmlformats.org/officeDocument/2006/relationships/image" Target="../media/image42.png"/><Relationship Id="rId5" Type="http://schemas.openxmlformats.org/officeDocument/2006/relationships/image" Target="../media/image36.png"/><Relationship Id="rId15" Type="http://schemas.openxmlformats.org/officeDocument/2006/relationships/image" Target="../media/image46.png"/><Relationship Id="rId10" Type="http://schemas.openxmlformats.org/officeDocument/2006/relationships/image" Target="../media/image41.jpg"/><Relationship Id="rId4" Type="http://schemas.openxmlformats.org/officeDocument/2006/relationships/image" Target="../media/image35.png"/><Relationship Id="rId9" Type="http://schemas.openxmlformats.org/officeDocument/2006/relationships/image" Target="../media/image40.png"/><Relationship Id="rId14" Type="http://schemas.openxmlformats.org/officeDocument/2006/relationships/image" Target="../media/image45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49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11" Type="http://schemas.openxmlformats.org/officeDocument/2006/relationships/slide" Target="slide4.xml"/><Relationship Id="rId5" Type="http://schemas.openxmlformats.org/officeDocument/2006/relationships/oleObject" Target="../embeddings/oleObject7.bin"/><Relationship Id="rId10" Type="http://schemas.openxmlformats.org/officeDocument/2006/relationships/image" Target="../media/image52.gif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5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4" Type="http://schemas.openxmlformats.org/officeDocument/2006/relationships/slide" Target="slide11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slideLayout" Target="../slideLayouts/slideLayout2.xml"/><Relationship Id="rId7" Type="http://schemas.openxmlformats.org/officeDocument/2006/relationships/slide" Target="slide14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55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slideLayout" Target="../slideLayouts/slideLayout3.xml"/><Relationship Id="rId7" Type="http://schemas.openxmlformats.org/officeDocument/2006/relationships/slide" Target="slide14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7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5" Type="http://schemas.openxmlformats.org/officeDocument/2006/relationships/image" Target="../media/image20.pn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png"/><Relationship Id="rId1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5.png"/><Relationship Id="rId5" Type="http://schemas.openxmlformats.org/officeDocument/2006/relationships/image" Target="../media/image24.jpg"/><Relationship Id="rId4" Type="http://schemas.openxmlformats.org/officeDocument/2006/relationships/image" Target="../media/image23.jp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hyperlink" Target="https://cran.r-project.org/bin/windows/base/R-3.4.1-win.exe" TargetMode="External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7.png"/><Relationship Id="rId12" Type="http://schemas.openxmlformats.org/officeDocument/2006/relationships/hyperlink" Target="https://cran.r-project.org/bin/windows/base/" TargetMode="Externa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11" Type="http://schemas.openxmlformats.org/officeDocument/2006/relationships/hyperlink" Target="https://cran.r-project.org/bin/windows/" TargetMode="External"/><Relationship Id="rId5" Type="http://schemas.openxmlformats.org/officeDocument/2006/relationships/oleObject" Target="../embeddings/oleObject5.bin"/><Relationship Id="rId10" Type="http://schemas.openxmlformats.org/officeDocument/2006/relationships/hyperlink" Target="https://cran.r-project.org/" TargetMode="External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2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oogle.co.in/search?source=hp&amp;q=install+RStudio+on+windows&amp;oq=install+RStudio+on+windows&amp;gs_l=psy-ab.3..0j0i22i10i30k1j0i22i30k1l2.1535.1535.0.2058.1.1.0.0.0.0.384.384.3-1.1.0....0...1.1.64.psy-ab..0.1.384.DDcnECfRDNQ" TargetMode="External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2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11" Type="http://schemas.openxmlformats.org/officeDocument/2006/relationships/image" Target="../media/image33.png"/><Relationship Id="rId5" Type="http://schemas.openxmlformats.org/officeDocument/2006/relationships/oleObject" Target="../embeddings/oleObject6.bin"/><Relationship Id="rId10" Type="http://schemas.openxmlformats.org/officeDocument/2006/relationships/hyperlink" Target="https://www.rstudio.com/products/rstudio-desktop/" TargetMode="External"/><Relationship Id="rId4" Type="http://schemas.openxmlformats.org/officeDocument/2006/relationships/notesSlide" Target="../notesSlides/notesSlide8.xml"/><Relationship Id="rId9" Type="http://schemas.openxmlformats.org/officeDocument/2006/relationships/hyperlink" Target="https://www.rstudio.com/products/rstudio2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4048" y="2384904"/>
            <a:ext cx="8348472" cy="461665"/>
          </a:xfrm>
        </p:spPr>
        <p:txBody>
          <a:bodyPr/>
          <a:lstStyle/>
          <a:p>
            <a:r>
              <a:rPr lang="en-GB" dirty="0"/>
              <a:t>An Introduction to R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9476" y="2846569"/>
            <a:ext cx="4178808" cy="369332"/>
          </a:xfrm>
        </p:spPr>
        <p:txBody>
          <a:bodyPr/>
          <a:lstStyle/>
          <a:p>
            <a:r>
              <a:rPr lang="en-US" sz="1800" dirty="0" smtClean="0"/>
              <a:t>Day 1 – </a:t>
            </a:r>
            <a:r>
              <a:rPr lang="en-US" sz="1800" dirty="0" smtClean="0"/>
              <a:t>18/09/2017</a:t>
            </a:r>
            <a:endParaRPr lang="en-US" sz="180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erent windows in </a:t>
            </a:r>
            <a:r>
              <a:rPr lang="en-US" dirty="0" err="1" smtClean="0"/>
              <a:t>RStudio</a:t>
            </a:r>
            <a:r>
              <a:rPr lang="en-US" dirty="0" smtClean="0"/>
              <a:t> (1/2) </a:t>
            </a:r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R Programming Language - Basic || Day-1 || 18 Sep 2017 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US" sz="1400" b="1" dirty="0" err="1" smtClean="0"/>
              <a:t>RStudio</a:t>
            </a:r>
            <a:r>
              <a:rPr lang="en-US" sz="1400" b="1" dirty="0" smtClean="0"/>
              <a:t>: </a:t>
            </a:r>
            <a:r>
              <a:rPr lang="en-US" sz="1400" dirty="0" err="1"/>
              <a:t>RStudio</a:t>
            </a:r>
            <a:r>
              <a:rPr lang="en-US" sz="1400" dirty="0"/>
              <a:t> is a front end to R. You need R to make </a:t>
            </a:r>
            <a:r>
              <a:rPr lang="en-US" sz="1400" dirty="0" err="1"/>
              <a:t>RStudio</a:t>
            </a:r>
            <a:r>
              <a:rPr lang="en-US" sz="1400" dirty="0"/>
              <a:t> work</a:t>
            </a:r>
            <a:r>
              <a:rPr lang="en-US" sz="1400" dirty="0" smtClean="0"/>
              <a:t>.</a:t>
            </a:r>
          </a:p>
          <a:p>
            <a:r>
              <a:rPr lang="en-US" sz="1400" dirty="0" err="1"/>
              <a:t>RStudio</a:t>
            </a:r>
            <a:r>
              <a:rPr lang="en-US" sz="1400" dirty="0"/>
              <a:t> makes using R a lot </a:t>
            </a:r>
            <a:r>
              <a:rPr lang="en-US" sz="1400" dirty="0" smtClean="0"/>
              <a:t>nicer by below features</a:t>
            </a:r>
          </a:p>
          <a:p>
            <a:pPr lvl="1"/>
            <a:r>
              <a:rPr lang="en-US" sz="1400" dirty="0" smtClean="0"/>
              <a:t>It has automatic bracket matching</a:t>
            </a:r>
          </a:p>
          <a:p>
            <a:pPr lvl="1"/>
            <a:r>
              <a:rPr lang="en-US" sz="1400" dirty="0" smtClean="0"/>
              <a:t>It has easy access to R help</a:t>
            </a:r>
          </a:p>
          <a:p>
            <a:pPr lvl="1"/>
            <a:r>
              <a:rPr lang="en-US" sz="1400" dirty="0" smtClean="0"/>
              <a:t>It </a:t>
            </a:r>
            <a:r>
              <a:rPr lang="en-US" sz="1400" dirty="0"/>
              <a:t>also has easy exploration of variables and </a:t>
            </a:r>
            <a:r>
              <a:rPr lang="en-US" sz="1400" dirty="0" smtClean="0"/>
              <a:t>values</a:t>
            </a:r>
          </a:p>
          <a:p>
            <a:pPr marL="171450" lvl="1" indent="-171450">
              <a:spcBef>
                <a:spcPts val="1000"/>
              </a:spcBef>
              <a:buFont typeface="Arial" charset="0"/>
              <a:buChar char="•"/>
            </a:pPr>
            <a:r>
              <a:rPr lang="en-US" sz="1400" dirty="0"/>
              <a:t>Once you click on R icon in start menu, you get to see 4 different windows as shown in snap shots below</a:t>
            </a:r>
          </a:p>
          <a:p>
            <a:pPr lvl="1"/>
            <a:endParaRPr lang="en-US" sz="1400" dirty="0"/>
          </a:p>
          <a:p>
            <a:endParaRPr lang="en-US" sz="1400" dirty="0" smtClean="0">
              <a:solidFill>
                <a:schemeClr val="accent2">
                  <a:lumMod val="75000"/>
                </a:schemeClr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546286" y="3219390"/>
            <a:ext cx="6171686" cy="3005919"/>
            <a:chOff x="1546286" y="3219390"/>
            <a:chExt cx="6171686" cy="3005919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546286" y="3219390"/>
              <a:ext cx="6171686" cy="30059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13" name="Rectangle 12"/>
            <p:cNvSpPr/>
            <p:nvPr/>
          </p:nvSpPr>
          <p:spPr>
            <a:xfrm>
              <a:off x="5573486" y="5915228"/>
              <a:ext cx="2074818" cy="28097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>
                <a:spcBef>
                  <a:spcPts val="200"/>
                </a:spcBef>
              </a:pPr>
              <a:r>
                <a:rPr lang="en-US" sz="1000" b="1" dirty="0"/>
                <a:t>Files, Plots, Packages and Help</a:t>
              </a:r>
              <a:endParaRPr lang="en-US" sz="1000" dirty="0" smtClean="0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3338906" y="4628662"/>
              <a:ext cx="1258389" cy="28097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200"/>
                </a:spcBef>
              </a:pPr>
              <a:r>
                <a:rPr lang="en-US" sz="1000" b="1" dirty="0" smtClean="0"/>
                <a:t>Source /Editor</a:t>
              </a:r>
              <a:endParaRPr lang="en-US" sz="1000" b="1" dirty="0"/>
            </a:p>
          </p:txBody>
        </p:sp>
        <p:sp>
          <p:nvSpPr>
            <p:cNvPr id="17" name="Rectangle 16"/>
            <p:cNvSpPr/>
            <p:nvPr/>
          </p:nvSpPr>
          <p:spPr>
            <a:xfrm>
              <a:off x="3338905" y="5915227"/>
              <a:ext cx="1258389" cy="28097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200"/>
                </a:spcBef>
              </a:pPr>
              <a:r>
                <a:rPr lang="en-US" sz="1000" b="1" dirty="0"/>
                <a:t>Console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5562599" y="4581860"/>
              <a:ext cx="2074818" cy="28097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200"/>
                </a:spcBef>
              </a:pPr>
              <a:r>
                <a:rPr lang="en-US" sz="1000" b="1" dirty="0" smtClean="0"/>
                <a:t>Environment, History</a:t>
              </a:r>
              <a:endParaRPr lang="en-US" sz="1000" dirty="0" smtClean="0"/>
            </a:p>
          </p:txBody>
        </p:sp>
      </p:grpSp>
      <p:cxnSp>
        <p:nvCxnSpPr>
          <p:cNvPr id="19" name="Straight Connector 18"/>
          <p:cNvCxnSpPr/>
          <p:nvPr/>
        </p:nvCxnSpPr>
        <p:spPr>
          <a:xfrm>
            <a:off x="455549" y="1018775"/>
            <a:ext cx="8138160" cy="0"/>
          </a:xfrm>
          <a:prstGeom prst="line">
            <a:avLst/>
          </a:prstGeom>
          <a:ln w="12700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52089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erent windows in </a:t>
            </a:r>
            <a:r>
              <a:rPr lang="en-US" dirty="0" err="1" smtClean="0"/>
              <a:t>RStudio</a:t>
            </a:r>
            <a:r>
              <a:rPr lang="en-US" dirty="0" smtClean="0"/>
              <a:t> (</a:t>
            </a:r>
            <a:r>
              <a:rPr lang="en-US" dirty="0"/>
              <a:t>2/2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R Programming Language - Basic || Day-1 || 18 Sep 2017 </a:t>
            </a:r>
            <a:endParaRPr lang="en-US" dirty="0"/>
          </a:p>
        </p:txBody>
      </p:sp>
      <p:cxnSp>
        <p:nvCxnSpPr>
          <p:cNvPr id="19" name="Straight Connector 18"/>
          <p:cNvCxnSpPr/>
          <p:nvPr/>
        </p:nvCxnSpPr>
        <p:spPr>
          <a:xfrm>
            <a:off x="455549" y="1018775"/>
            <a:ext cx="8138160" cy="0"/>
          </a:xfrm>
          <a:prstGeom prst="line">
            <a:avLst/>
          </a:prstGeom>
          <a:ln w="12700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US" sz="1400" b="1" dirty="0"/>
              <a:t>Source / Editor </a:t>
            </a:r>
            <a:r>
              <a:rPr lang="en-US" sz="1400" dirty="0" smtClean="0"/>
              <a:t>: Where </a:t>
            </a:r>
            <a:r>
              <a:rPr lang="en-US" sz="1400" dirty="0"/>
              <a:t>multiple lines of code can be written. Users can save script file to disk and </a:t>
            </a:r>
            <a:r>
              <a:rPr lang="en-US" sz="1400" dirty="0" smtClean="0"/>
              <a:t>recall based </a:t>
            </a:r>
            <a:r>
              <a:rPr lang="en-US" sz="1400" dirty="0"/>
              <a:t>on the </a:t>
            </a:r>
            <a:r>
              <a:rPr lang="en-US" sz="1400" dirty="0" smtClean="0"/>
              <a:t>requirement</a:t>
            </a:r>
          </a:p>
          <a:p>
            <a:r>
              <a:rPr lang="en-US" sz="1400" b="1" dirty="0" smtClean="0"/>
              <a:t>Console </a:t>
            </a:r>
            <a:r>
              <a:rPr lang="en-US" sz="1400" dirty="0" smtClean="0"/>
              <a:t>:</a:t>
            </a:r>
            <a:r>
              <a:rPr lang="en-US" sz="1400" b="1" dirty="0" smtClean="0"/>
              <a:t> </a:t>
            </a:r>
            <a:r>
              <a:rPr lang="en-US" sz="1400" dirty="0"/>
              <a:t>All the interactive work of R is been performed here i.e. objects that you create the outputs will be displayed over </a:t>
            </a:r>
            <a:r>
              <a:rPr lang="en-US" sz="1400" dirty="0" smtClean="0"/>
              <a:t>here</a:t>
            </a:r>
          </a:p>
          <a:p>
            <a:r>
              <a:rPr lang="en-US" sz="1400" b="1" dirty="0"/>
              <a:t>Environment, </a:t>
            </a:r>
            <a:r>
              <a:rPr lang="en-US" sz="1400" b="1" dirty="0" smtClean="0"/>
              <a:t>History</a:t>
            </a:r>
            <a:r>
              <a:rPr lang="en-US" sz="1400" dirty="0" smtClean="0"/>
              <a:t> : </a:t>
            </a:r>
            <a:r>
              <a:rPr lang="en-US" sz="1400" dirty="0"/>
              <a:t>Overview of workspace, where the variable created in the session along with their values can be inspected over </a:t>
            </a:r>
            <a:r>
              <a:rPr lang="en-US" sz="1400" dirty="0" smtClean="0"/>
              <a:t>here</a:t>
            </a:r>
            <a:endParaRPr lang="en-US" sz="1400" dirty="0"/>
          </a:p>
          <a:p>
            <a:pPr marL="0" indent="0">
              <a:buNone/>
            </a:pPr>
            <a:r>
              <a:rPr lang="en-US" sz="1400" dirty="0"/>
              <a:t> </a:t>
            </a:r>
            <a:r>
              <a:rPr lang="en-US" sz="1400" dirty="0" smtClean="0"/>
              <a:t>   This </a:t>
            </a:r>
            <a:r>
              <a:rPr lang="en-US" sz="1400" dirty="0"/>
              <a:t>is also the area where the user can see a history of all the commands issued in </a:t>
            </a:r>
            <a:r>
              <a:rPr lang="en-US" sz="1400" dirty="0" smtClean="0"/>
              <a:t>R</a:t>
            </a:r>
          </a:p>
          <a:p>
            <a:r>
              <a:rPr lang="en-US" sz="1400" b="1" dirty="0"/>
              <a:t>Files: </a:t>
            </a:r>
            <a:r>
              <a:rPr lang="en-US" sz="1400" dirty="0"/>
              <a:t>This is where the user can browse folders and files on a </a:t>
            </a:r>
            <a:r>
              <a:rPr lang="en-US" sz="1400" dirty="0" smtClean="0"/>
              <a:t>computer</a:t>
            </a:r>
            <a:endParaRPr lang="en-US" sz="1400" dirty="0"/>
          </a:p>
          <a:p>
            <a:r>
              <a:rPr lang="en-US" sz="1400" b="1" dirty="0"/>
              <a:t>Plots: </a:t>
            </a:r>
            <a:r>
              <a:rPr lang="en-US" sz="1400" dirty="0"/>
              <a:t>This is where R displays all the user's plots that are been </a:t>
            </a:r>
            <a:r>
              <a:rPr lang="en-US" sz="1400" dirty="0" smtClean="0"/>
              <a:t>generated</a:t>
            </a:r>
            <a:endParaRPr lang="en-US" sz="1400" dirty="0"/>
          </a:p>
          <a:p>
            <a:r>
              <a:rPr lang="en-US" sz="1400" b="1" dirty="0">
                <a:hlinkClick r:id="rId3" action="ppaction://hlinksldjump"/>
              </a:rPr>
              <a:t>Packages</a:t>
            </a:r>
            <a:r>
              <a:rPr lang="en-US" sz="1400" b="1" dirty="0"/>
              <a:t>: </a:t>
            </a:r>
            <a:r>
              <a:rPr lang="en-US" sz="1400" dirty="0"/>
              <a:t>This where the user can view a list of all the installed </a:t>
            </a:r>
            <a:r>
              <a:rPr lang="en-US" sz="1400" dirty="0" smtClean="0"/>
              <a:t>packages</a:t>
            </a:r>
            <a:endParaRPr lang="en-US" sz="1400" dirty="0"/>
          </a:p>
          <a:p>
            <a:r>
              <a:rPr lang="en-US" sz="1400" b="1" dirty="0" smtClean="0"/>
              <a:t>Help</a:t>
            </a:r>
            <a:r>
              <a:rPr lang="en-US" sz="1400" b="1" dirty="0"/>
              <a:t>: </a:t>
            </a:r>
            <a:r>
              <a:rPr lang="en-US" sz="1400" dirty="0"/>
              <a:t>This is where you can browse the built-in Help system of </a:t>
            </a:r>
            <a:r>
              <a:rPr lang="en-US" sz="1400" dirty="0" smtClean="0"/>
              <a:t>R</a:t>
            </a:r>
          </a:p>
          <a:p>
            <a:endParaRPr lang="en-US" sz="1400" dirty="0" smtClean="0"/>
          </a:p>
          <a:p>
            <a:endParaRPr lang="en-US" sz="1400" dirty="0" smtClean="0"/>
          </a:p>
          <a:p>
            <a:pPr lvl="1"/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3671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17 SAS, R, or Python Flash Survey Results</a:t>
            </a:r>
            <a:br>
              <a:rPr lang="en-US" dirty="0"/>
            </a:br>
            <a:r>
              <a:rPr lang="en-US" sz="1000" dirty="0">
                <a:hlinkClick r:id="rId3"/>
              </a:rPr>
              <a:t>http://www.burtchworks.com/2017/06/19/2017-sas-r-python-flash-survey-results/</a:t>
            </a:r>
            <a:endParaRPr lang="en-US" sz="1000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R Programming Language - Basic || Day-1 || 18 Sep 2017 </a:t>
            </a:r>
            <a:endParaRPr lang="en-US" dirty="0"/>
          </a:p>
        </p:txBody>
      </p:sp>
      <p:cxnSp>
        <p:nvCxnSpPr>
          <p:cNvPr id="19" name="Straight Connector 18"/>
          <p:cNvCxnSpPr/>
          <p:nvPr/>
        </p:nvCxnSpPr>
        <p:spPr>
          <a:xfrm>
            <a:off x="455549" y="1018775"/>
            <a:ext cx="8138160" cy="0"/>
          </a:xfrm>
          <a:prstGeom prst="line">
            <a:avLst/>
          </a:prstGeom>
          <a:ln w="12700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US" sz="1400" b="1" dirty="0" smtClean="0"/>
              <a:t>Tool preference by Industry &amp; by years of experience:</a:t>
            </a:r>
          </a:p>
          <a:p>
            <a:pPr marL="0" indent="0">
              <a:buNone/>
            </a:pPr>
            <a:endParaRPr lang="en-US" sz="1400" b="1" dirty="0"/>
          </a:p>
          <a:p>
            <a:endParaRPr lang="en-US" sz="1400" dirty="0" smtClean="0"/>
          </a:p>
          <a:p>
            <a:endParaRPr lang="en-US" sz="1400" dirty="0" smtClean="0"/>
          </a:p>
          <a:p>
            <a:pPr lvl="1"/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r>
              <a:rPr lang="en-US" sz="1400" b="1" dirty="0" smtClean="0"/>
              <a:t>Few Global companies that uses R for analysis: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455549" y="1645204"/>
            <a:ext cx="7712219" cy="2907784"/>
            <a:chOff x="455549" y="1645204"/>
            <a:chExt cx="7712219" cy="2907784"/>
          </a:xfrm>
        </p:grpSpPr>
        <p:grpSp>
          <p:nvGrpSpPr>
            <p:cNvPr id="2" name="Group 1"/>
            <p:cNvGrpSpPr/>
            <p:nvPr/>
          </p:nvGrpSpPr>
          <p:grpSpPr>
            <a:xfrm>
              <a:off x="455549" y="1645204"/>
              <a:ext cx="3572165" cy="2907784"/>
              <a:chOff x="455549" y="1645204"/>
              <a:chExt cx="3572165" cy="2907784"/>
            </a:xfrm>
          </p:grpSpPr>
          <p:pic>
            <p:nvPicPr>
              <p:cNvPr id="5" name="Picture 4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55549" y="1914887"/>
                <a:ext cx="3572165" cy="2638101"/>
              </a:xfrm>
              <a:prstGeom prst="rect">
                <a:avLst/>
              </a:prstGeom>
            </p:spPr>
          </p:pic>
          <p:sp>
            <p:nvSpPr>
              <p:cNvPr id="8" name="Rectangle 7"/>
              <p:cNvSpPr/>
              <p:nvPr/>
            </p:nvSpPr>
            <p:spPr>
              <a:xfrm>
                <a:off x="1426028" y="1645204"/>
                <a:ext cx="1937657" cy="23948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ts val="200"/>
                  </a:spcBef>
                </a:pPr>
                <a:r>
                  <a:rPr lang="en-US" sz="1000" b="1" dirty="0">
                    <a:solidFill>
                      <a:schemeClr val="tx1"/>
                    </a:solidFill>
                  </a:rPr>
                  <a:t>Tool preference by Industry</a:t>
                </a:r>
                <a:endParaRPr lang="en-US" sz="1000" dirty="0" smtClean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6" name="Group 5"/>
            <p:cNvGrpSpPr/>
            <p:nvPr/>
          </p:nvGrpSpPr>
          <p:grpSpPr>
            <a:xfrm>
              <a:off x="4592464" y="1699987"/>
              <a:ext cx="3575304" cy="2195698"/>
              <a:chOff x="4592464" y="1699987"/>
              <a:chExt cx="3575304" cy="2195698"/>
            </a:xfrm>
          </p:grpSpPr>
          <p:pic>
            <p:nvPicPr>
              <p:cNvPr id="11" name="Picture 10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592464" y="2197915"/>
                <a:ext cx="3575304" cy="1697770"/>
              </a:xfrm>
              <a:prstGeom prst="rect">
                <a:avLst/>
              </a:prstGeom>
            </p:spPr>
          </p:pic>
          <p:sp>
            <p:nvSpPr>
              <p:cNvPr id="15" name="Rectangle 14"/>
              <p:cNvSpPr/>
              <p:nvPr/>
            </p:nvSpPr>
            <p:spPr>
              <a:xfrm>
                <a:off x="5290456" y="1699987"/>
                <a:ext cx="2583398" cy="23948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Bef>
                    <a:spcPts val="200"/>
                  </a:spcBef>
                </a:pPr>
                <a:r>
                  <a:rPr lang="en-US" sz="1000" b="1" dirty="0">
                    <a:solidFill>
                      <a:schemeClr val="tx1"/>
                    </a:solidFill>
                  </a:rPr>
                  <a:t>Tool preference by </a:t>
                </a:r>
                <a:r>
                  <a:rPr lang="en-US" sz="1000" b="1" dirty="0" smtClean="0">
                    <a:solidFill>
                      <a:schemeClr val="tx1"/>
                    </a:solidFill>
                  </a:rPr>
                  <a:t>years of experience</a:t>
                </a:r>
                <a:endParaRPr lang="en-US" sz="1000" dirty="0" smtClean="0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9" name="Group 8"/>
          <p:cNvGrpSpPr/>
          <p:nvPr/>
        </p:nvGrpSpPr>
        <p:grpSpPr>
          <a:xfrm>
            <a:off x="384047" y="5021764"/>
            <a:ext cx="8099325" cy="1245481"/>
            <a:chOff x="384047" y="5021764"/>
            <a:chExt cx="8099325" cy="1245481"/>
          </a:xfrm>
        </p:grpSpPr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1752" y="5554676"/>
              <a:ext cx="554417" cy="622412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19519" y="5701184"/>
              <a:ext cx="566061" cy="566061"/>
            </a:xfrm>
            <a:prstGeom prst="rect">
              <a:avLst/>
            </a:prstGeom>
          </p:spPr>
        </p:pic>
        <p:pic>
          <p:nvPicPr>
            <p:cNvPr id="23" name="Picture 22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91459" y="5113953"/>
              <a:ext cx="633289" cy="472531"/>
            </a:xfrm>
            <a:prstGeom prst="rect">
              <a:avLst/>
            </a:prstGeom>
          </p:spPr>
        </p:pic>
        <p:pic>
          <p:nvPicPr>
            <p:cNvPr id="24" name="Picture 23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90472" y="5021764"/>
              <a:ext cx="677296" cy="677296"/>
            </a:xfrm>
            <a:prstGeom prst="rect">
              <a:avLst/>
            </a:prstGeom>
          </p:spPr>
        </p:pic>
        <p:pic>
          <p:nvPicPr>
            <p:cNvPr id="25" name="Picture 24"/>
            <p:cNvPicPr>
              <a:picLocks noChangeAspect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4955" b="34654"/>
            <a:stretch/>
          </p:blipFill>
          <p:spPr>
            <a:xfrm>
              <a:off x="3473531" y="5143734"/>
              <a:ext cx="1051098" cy="424543"/>
            </a:xfrm>
            <a:prstGeom prst="rect">
              <a:avLst/>
            </a:prstGeom>
          </p:spPr>
        </p:pic>
        <p:pic>
          <p:nvPicPr>
            <p:cNvPr id="26" name="Picture 25"/>
            <p:cNvPicPr>
              <a:picLocks noChangeAspect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5011"/>
            <a:stretch/>
          </p:blipFill>
          <p:spPr>
            <a:xfrm>
              <a:off x="4834141" y="5764191"/>
              <a:ext cx="842682" cy="425776"/>
            </a:xfrm>
            <a:prstGeom prst="rect">
              <a:avLst/>
            </a:prstGeom>
          </p:spPr>
        </p:pic>
        <p:pic>
          <p:nvPicPr>
            <p:cNvPr id="27" name="Picture 26"/>
            <p:cNvPicPr>
              <a:picLocks noChangeAspect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1867" b="23028"/>
            <a:stretch/>
          </p:blipFill>
          <p:spPr>
            <a:xfrm>
              <a:off x="6106580" y="5197862"/>
              <a:ext cx="747077" cy="283029"/>
            </a:xfrm>
            <a:prstGeom prst="rect">
              <a:avLst/>
            </a:prstGeom>
          </p:spPr>
        </p:pic>
        <p:pic>
          <p:nvPicPr>
            <p:cNvPr id="29" name="Picture 28"/>
            <p:cNvPicPr>
              <a:picLocks noChangeAspect="1"/>
            </p:cNvPicPr>
            <p:nvPr/>
          </p:nvPicPr>
          <p:blipFill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011" t="31388" r="13389" b="30546"/>
            <a:stretch/>
          </p:blipFill>
          <p:spPr>
            <a:xfrm>
              <a:off x="4838610" y="5176563"/>
              <a:ext cx="969885" cy="515632"/>
            </a:xfrm>
            <a:prstGeom prst="rect">
              <a:avLst/>
            </a:prstGeom>
          </p:spPr>
        </p:pic>
        <p:pic>
          <p:nvPicPr>
            <p:cNvPr id="30" name="Picture 29"/>
            <p:cNvPicPr>
              <a:picLocks noChangeAspect="1"/>
            </p:cNvPicPr>
            <p:nvPr/>
          </p:nvPicPr>
          <p:blipFill rotWithShape="1"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6876" b="11875"/>
            <a:stretch/>
          </p:blipFill>
          <p:spPr>
            <a:xfrm>
              <a:off x="2078548" y="5791958"/>
              <a:ext cx="920727" cy="391886"/>
            </a:xfrm>
            <a:prstGeom prst="rect">
              <a:avLst/>
            </a:prstGeom>
          </p:spPr>
        </p:pic>
        <p:pic>
          <p:nvPicPr>
            <p:cNvPr id="31" name="Picture 30"/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4047" y="5239438"/>
              <a:ext cx="1242661" cy="267018"/>
            </a:xfrm>
            <a:prstGeom prst="rect">
              <a:avLst/>
            </a:prstGeom>
          </p:spPr>
        </p:pic>
        <p:pic>
          <p:nvPicPr>
            <p:cNvPr id="33" name="Picture 32"/>
            <p:cNvPicPr>
              <a:picLocks noChangeAspect="1"/>
            </p:cNvPicPr>
            <p:nvPr/>
          </p:nvPicPr>
          <p:blipFill rotWithShape="1"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143" t="35891" b="30104"/>
            <a:stretch/>
          </p:blipFill>
          <p:spPr>
            <a:xfrm>
              <a:off x="6128179" y="5764191"/>
              <a:ext cx="1076492" cy="331228"/>
            </a:xfrm>
            <a:prstGeom prst="rect">
              <a:avLst/>
            </a:prstGeom>
          </p:spPr>
        </p:pic>
        <p:pic>
          <p:nvPicPr>
            <p:cNvPr id="35" name="Picture 34"/>
            <p:cNvPicPr>
              <a:picLocks noChangeAspect="1"/>
            </p:cNvPicPr>
            <p:nvPr/>
          </p:nvPicPr>
          <p:blipFill rotWithShape="1"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162" t="28610" r="8789" b="26165"/>
            <a:stretch/>
          </p:blipFill>
          <p:spPr>
            <a:xfrm>
              <a:off x="7549533" y="5692195"/>
              <a:ext cx="933839" cy="38605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71410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R Programming Language - Basic || Day-1 || 18 Sep 2017 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pendix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0995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55747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7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>
          <a:xfrm>
            <a:off x="384047" y="1052554"/>
            <a:ext cx="8348472" cy="5001059"/>
          </a:xfrm>
        </p:spPr>
        <p:txBody>
          <a:bodyPr/>
          <a:lstStyle/>
          <a:p>
            <a:pPr marL="0" indent="0">
              <a:buNone/>
            </a:pPr>
            <a:r>
              <a:rPr lang="en-US" sz="1400" b="1" dirty="0" smtClean="0"/>
              <a:t>What is S</a:t>
            </a:r>
            <a:r>
              <a:rPr lang="en-US" sz="1400" dirty="0" smtClean="0"/>
              <a:t>?</a:t>
            </a:r>
          </a:p>
          <a:p>
            <a:pPr marL="285750" lvl="1" indent="-285750">
              <a:spcBef>
                <a:spcPts val="1000"/>
              </a:spcBef>
            </a:pPr>
            <a:r>
              <a:rPr lang="en-US" sz="1400" dirty="0"/>
              <a:t>S is a language that was developed by </a:t>
            </a:r>
            <a:r>
              <a:rPr lang="en-US" sz="1400" dirty="0" smtClean="0"/>
              <a:t> </a:t>
            </a:r>
            <a:r>
              <a:rPr lang="en-US" sz="1400" b="1" dirty="0" smtClean="0"/>
              <a:t>Prof. John M. </a:t>
            </a:r>
            <a:r>
              <a:rPr lang="en-US" sz="1400" b="1" dirty="0"/>
              <a:t>Chambers </a:t>
            </a:r>
            <a:r>
              <a:rPr lang="en-US" sz="1400" dirty="0"/>
              <a:t>and others at </a:t>
            </a:r>
            <a:r>
              <a:rPr lang="en-US" sz="1400" b="1" dirty="0"/>
              <a:t>Bell </a:t>
            </a:r>
            <a:r>
              <a:rPr lang="en-US" sz="1400" b="1" dirty="0" smtClean="0"/>
              <a:t>Laboratories</a:t>
            </a:r>
            <a:endParaRPr lang="en-US" sz="1400" b="1" dirty="0"/>
          </a:p>
          <a:p>
            <a:pPr marL="285750" lvl="1" indent="-285750">
              <a:spcBef>
                <a:spcPts val="1000"/>
              </a:spcBef>
            </a:pPr>
            <a:r>
              <a:rPr lang="en-US" sz="1400" dirty="0"/>
              <a:t>S was initiated in 1976 as an internal </a:t>
            </a:r>
            <a:r>
              <a:rPr lang="en-US" sz="1400" b="1" dirty="0"/>
              <a:t>statistical analysis environmen</a:t>
            </a:r>
            <a:r>
              <a:rPr lang="en-US" sz="1400" dirty="0"/>
              <a:t>t</a:t>
            </a:r>
          </a:p>
          <a:p>
            <a:pPr marL="0" lvl="1" indent="0">
              <a:spcBef>
                <a:spcPts val="1000"/>
              </a:spcBef>
              <a:buNone/>
            </a:pPr>
            <a:r>
              <a:rPr lang="en-US" sz="1400" b="1" dirty="0"/>
              <a:t>Historical notes:</a:t>
            </a:r>
          </a:p>
          <a:p>
            <a:pPr marL="285750" lvl="1" indent="-285750">
              <a:spcBef>
                <a:spcPts val="1000"/>
              </a:spcBef>
            </a:pPr>
            <a:r>
              <a:rPr lang="en-US" sz="1400" dirty="0"/>
              <a:t>In 1993 Bell Labs gave Insightful Corp. an exclusive License to develop and sell S language</a:t>
            </a:r>
          </a:p>
          <a:p>
            <a:pPr marL="285750" lvl="1" indent="-285750">
              <a:spcBef>
                <a:spcPts val="1000"/>
              </a:spcBef>
            </a:pPr>
            <a:r>
              <a:rPr lang="en-US" sz="1400" dirty="0"/>
              <a:t>Insightful </a:t>
            </a:r>
            <a:r>
              <a:rPr lang="en-US" sz="1400" dirty="0" smtClean="0"/>
              <a:t>sold </a:t>
            </a:r>
            <a:r>
              <a:rPr lang="en-US" sz="1400" dirty="0"/>
              <a:t>its implementation of the S language under the product name S-PLUS</a:t>
            </a:r>
          </a:p>
          <a:p>
            <a:pPr marL="285750" lvl="1" indent="-285750">
              <a:spcBef>
                <a:spcPts val="1000"/>
              </a:spcBef>
            </a:pPr>
            <a:r>
              <a:rPr lang="en-US" sz="1400" dirty="0"/>
              <a:t>In 2008 Insightful </a:t>
            </a:r>
            <a:r>
              <a:rPr lang="en-US" sz="1400" dirty="0" smtClean="0"/>
              <a:t>was acquired </a:t>
            </a:r>
            <a:r>
              <a:rPr lang="en-US" sz="1400" dirty="0"/>
              <a:t>by TIBCO for $25 million</a:t>
            </a:r>
          </a:p>
          <a:p>
            <a:pPr marL="285750" lvl="1" indent="-285750">
              <a:spcBef>
                <a:spcPts val="1000"/>
              </a:spcBef>
            </a:pPr>
            <a:r>
              <a:rPr lang="en-US" sz="1400" dirty="0"/>
              <a:t>The fundamental of the S language itself has not changed dramatically </a:t>
            </a:r>
            <a:r>
              <a:rPr lang="en-US" sz="1400"/>
              <a:t>since </a:t>
            </a:r>
            <a:r>
              <a:rPr lang="en-US" sz="1400" smtClean="0"/>
              <a:t>1998</a:t>
            </a:r>
            <a:endParaRPr lang="en-US" sz="1400" dirty="0"/>
          </a:p>
          <a:p>
            <a:pPr marL="171450" lvl="1" indent="-171450">
              <a:spcBef>
                <a:spcPts val="1000"/>
              </a:spcBef>
              <a:buFont typeface="Arial" charset="0"/>
              <a:buChar char="•"/>
            </a:pPr>
            <a:endParaRPr lang="en-US" sz="1400" dirty="0"/>
          </a:p>
          <a:p>
            <a:pPr marL="171450" lvl="2" indent="0">
              <a:spcBef>
                <a:spcPts val="1000"/>
              </a:spcBef>
              <a:buNone/>
            </a:pPr>
            <a:endParaRPr lang="en-US" sz="1400" dirty="0" smtClean="0"/>
          </a:p>
          <a:p>
            <a:pPr marL="0" lvl="1" indent="0">
              <a:spcBef>
                <a:spcPts val="1000"/>
              </a:spcBef>
              <a:buNone/>
            </a:pPr>
            <a:endParaRPr lang="en-US" sz="1400" dirty="0" smtClean="0"/>
          </a:p>
          <a:p>
            <a:pPr marL="171450" lvl="1" indent="-171450">
              <a:spcBef>
                <a:spcPts val="1000"/>
              </a:spcBef>
              <a:buFont typeface="Arial" charset="0"/>
              <a:buChar char="•"/>
            </a:pPr>
            <a:endParaRPr lang="en-US" sz="1400" dirty="0"/>
          </a:p>
          <a:p>
            <a:pPr lvl="1"/>
            <a:endParaRPr lang="en-US" sz="1400" dirty="0" smtClean="0"/>
          </a:p>
          <a:p>
            <a:pPr lvl="1"/>
            <a:endParaRPr lang="en-US" sz="1400" dirty="0" smtClean="0"/>
          </a:p>
        </p:txBody>
      </p:sp>
      <p:grpSp>
        <p:nvGrpSpPr>
          <p:cNvPr id="19" name="Group 18"/>
          <p:cNvGrpSpPr/>
          <p:nvPr/>
        </p:nvGrpSpPr>
        <p:grpSpPr>
          <a:xfrm>
            <a:off x="3875314" y="4106625"/>
            <a:ext cx="2394856" cy="567668"/>
            <a:chOff x="3962400" y="4016828"/>
            <a:chExt cx="2394856" cy="567668"/>
          </a:xfrm>
          <a:noFill/>
        </p:grpSpPr>
        <p:sp>
          <p:nvSpPr>
            <p:cNvPr id="8" name="Rectangle 7"/>
            <p:cNvSpPr/>
            <p:nvPr/>
          </p:nvSpPr>
          <p:spPr>
            <a:xfrm>
              <a:off x="4049441" y="4131886"/>
              <a:ext cx="2307815" cy="2986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200"/>
                </a:spcBef>
              </a:pPr>
              <a:r>
                <a:rPr lang="en-US" sz="1400" b="1" dirty="0" smtClean="0">
                  <a:solidFill>
                    <a:schemeClr val="tx1"/>
                  </a:solidFill>
                </a:rPr>
                <a:t>Evolution of S language</a:t>
              </a:r>
            </a:p>
          </p:txBody>
        </p:sp>
        <p:sp>
          <p:nvSpPr>
            <p:cNvPr id="9" name="Striped Right Arrow 8"/>
            <p:cNvSpPr/>
            <p:nvPr/>
          </p:nvSpPr>
          <p:spPr>
            <a:xfrm>
              <a:off x="3962400" y="4016828"/>
              <a:ext cx="2364605" cy="567668"/>
            </a:xfrm>
            <a:prstGeom prst="stripedRightArrow">
              <a:avLst/>
            </a:prstGeom>
            <a:grpFill/>
            <a:ln w="15875">
              <a:solidFill>
                <a:srgbClr val="21212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200"/>
                </a:spcBef>
              </a:pPr>
              <a:endParaRPr lang="en-US" sz="1400" dirty="0" smtClean="0">
                <a:solidFill>
                  <a:schemeClr val="tx1"/>
                </a:solidFill>
              </a:endParaRPr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 Language and its History</a:t>
            </a:r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R Programming Language - Basic || Day-1 || 18 Sep 2017 </a:t>
            </a:r>
            <a:endParaRPr lang="en-US" dirty="0"/>
          </a:p>
        </p:txBody>
      </p:sp>
      <p:grpSp>
        <p:nvGrpSpPr>
          <p:cNvPr id="2" name="Group 1"/>
          <p:cNvGrpSpPr/>
          <p:nvPr/>
        </p:nvGrpSpPr>
        <p:grpSpPr>
          <a:xfrm>
            <a:off x="384047" y="4131886"/>
            <a:ext cx="3273509" cy="2175440"/>
            <a:chOff x="384047" y="4131886"/>
            <a:chExt cx="3273509" cy="2175440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84047" y="4131886"/>
              <a:ext cx="1643744" cy="2175440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48543" y="4763766"/>
              <a:ext cx="1709013" cy="412296"/>
            </a:xfrm>
            <a:prstGeom prst="rect">
              <a:avLst/>
            </a:prstGeom>
          </p:spPr>
        </p:pic>
      </p:grpSp>
      <p:grpSp>
        <p:nvGrpSpPr>
          <p:cNvPr id="5" name="Group 4"/>
          <p:cNvGrpSpPr/>
          <p:nvPr/>
        </p:nvGrpSpPr>
        <p:grpSpPr>
          <a:xfrm>
            <a:off x="3788228" y="4830032"/>
            <a:ext cx="2538777" cy="323308"/>
            <a:chOff x="3788228" y="4830032"/>
            <a:chExt cx="2538777" cy="323308"/>
          </a:xfrm>
        </p:grpSpPr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076428" y="4830032"/>
              <a:ext cx="2250577" cy="323308"/>
            </a:xfrm>
            <a:prstGeom prst="rect">
              <a:avLst/>
            </a:prstGeom>
          </p:spPr>
        </p:pic>
        <p:sp>
          <p:nvSpPr>
            <p:cNvPr id="14" name="Right Arrow 13"/>
            <p:cNvSpPr/>
            <p:nvPr/>
          </p:nvSpPr>
          <p:spPr>
            <a:xfrm>
              <a:off x="3788228" y="4884462"/>
              <a:ext cx="174172" cy="201291"/>
            </a:xfrm>
            <a:prstGeom prst="rightArrow">
              <a:avLst/>
            </a:prstGeom>
            <a:noFill/>
            <a:ln>
              <a:solidFill>
                <a:srgbClr val="21212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200"/>
                </a:spcBef>
              </a:pPr>
              <a:endParaRPr lang="en-US" sz="1400" dirty="0" smtClean="0"/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6432732" y="4763766"/>
            <a:ext cx="2299787" cy="480069"/>
            <a:chOff x="6432732" y="4763766"/>
            <a:chExt cx="2299787" cy="480069"/>
          </a:xfrm>
        </p:grpSpPr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45877" y="4763766"/>
              <a:ext cx="1986642" cy="480069"/>
            </a:xfrm>
            <a:prstGeom prst="rect">
              <a:avLst/>
            </a:prstGeom>
          </p:spPr>
        </p:pic>
        <p:sp>
          <p:nvSpPr>
            <p:cNvPr id="15" name="Right Arrow 14"/>
            <p:cNvSpPr/>
            <p:nvPr/>
          </p:nvSpPr>
          <p:spPr>
            <a:xfrm>
              <a:off x="6432732" y="4884462"/>
              <a:ext cx="174172" cy="201291"/>
            </a:xfrm>
            <a:prstGeom prst="rightArrow">
              <a:avLst/>
            </a:prstGeom>
            <a:noFill/>
            <a:ln>
              <a:solidFill>
                <a:srgbClr val="21212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200"/>
                </a:spcBef>
              </a:pPr>
              <a:endParaRPr lang="en-US" sz="1400" dirty="0" smtClean="0"/>
            </a:p>
          </p:txBody>
        </p:sp>
      </p:grpSp>
      <p:cxnSp>
        <p:nvCxnSpPr>
          <p:cNvPr id="16" name="Straight Connector 15"/>
          <p:cNvCxnSpPr/>
          <p:nvPr/>
        </p:nvCxnSpPr>
        <p:spPr>
          <a:xfrm>
            <a:off x="455549" y="1018775"/>
            <a:ext cx="8138160" cy="0"/>
          </a:xfrm>
          <a:prstGeom prst="line">
            <a:avLst/>
          </a:prstGeom>
          <a:ln w="12700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/>
        </p:nvSpPr>
        <p:spPr>
          <a:xfrm>
            <a:off x="7450801" y="679965"/>
            <a:ext cx="12490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u="sng" dirty="0">
                <a:solidFill>
                  <a:srgbClr val="00B0F0"/>
                </a:solidFill>
                <a:latin typeface="Arial"/>
                <a:hlinkClick r:id="rId11" action="ppaction://hlinksldjump"/>
              </a:rPr>
              <a:t>Back to R </a:t>
            </a:r>
            <a:endParaRPr lang="en-US" u="sng" dirty="0">
              <a:solidFill>
                <a:srgbClr val="00B0F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94922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ackage &amp; Library</a:t>
            </a:r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R Programming Language - Basic || Day-1 || 18 Sep 2017 </a:t>
            </a:r>
            <a:endParaRPr lang="en-US" dirty="0"/>
          </a:p>
        </p:txBody>
      </p:sp>
      <p:cxnSp>
        <p:nvCxnSpPr>
          <p:cNvPr id="19" name="Straight Connector 18"/>
          <p:cNvCxnSpPr/>
          <p:nvPr/>
        </p:nvCxnSpPr>
        <p:spPr>
          <a:xfrm>
            <a:off x="455549" y="1018775"/>
            <a:ext cx="8138160" cy="0"/>
          </a:xfrm>
          <a:prstGeom prst="line">
            <a:avLst/>
          </a:prstGeom>
          <a:ln w="12700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US" sz="1400" b="1" dirty="0" smtClean="0"/>
              <a:t>Package</a:t>
            </a:r>
            <a:r>
              <a:rPr lang="en-US" sz="1400" dirty="0" smtClean="0"/>
              <a:t> </a:t>
            </a:r>
            <a:r>
              <a:rPr lang="en-US" sz="1400" b="1" dirty="0" smtClean="0"/>
              <a:t>:</a:t>
            </a:r>
            <a:r>
              <a:rPr lang="en-US" sz="1400" dirty="0" smtClean="0"/>
              <a:t> Package is </a:t>
            </a:r>
            <a:r>
              <a:rPr lang="en-US" sz="1400" dirty="0"/>
              <a:t>a self-contained set of code that adds functionality to R, similar in ways that add-in adds functionality to Microsoft </a:t>
            </a:r>
            <a:r>
              <a:rPr lang="en-US" sz="1400" dirty="0" smtClean="0"/>
              <a:t>Excel</a:t>
            </a:r>
            <a:endParaRPr lang="en-US" sz="1400" dirty="0"/>
          </a:p>
          <a:p>
            <a:r>
              <a:rPr lang="en-US" sz="1400" b="1" dirty="0" smtClean="0"/>
              <a:t>Library :  </a:t>
            </a:r>
            <a:r>
              <a:rPr lang="en-US" sz="1400" dirty="0" smtClean="0"/>
              <a:t>The </a:t>
            </a:r>
            <a:r>
              <a:rPr lang="en-US" sz="1400" dirty="0"/>
              <a:t>directory where packages are stored is called the </a:t>
            </a:r>
            <a:r>
              <a:rPr lang="en-US" sz="1400" b="1" dirty="0"/>
              <a:t>library</a:t>
            </a:r>
          </a:p>
          <a:p>
            <a:endParaRPr lang="en-US" sz="1400" dirty="0" smtClean="0"/>
          </a:p>
          <a:p>
            <a:endParaRPr lang="en-US" sz="1400" dirty="0" smtClean="0"/>
          </a:p>
          <a:p>
            <a:pPr lvl="1"/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0468" y="2364922"/>
            <a:ext cx="2266950" cy="2019300"/>
          </a:xfrm>
          <a:prstGeom prst="rect">
            <a:avLst/>
          </a:prstGeom>
        </p:spPr>
      </p:pic>
      <p:cxnSp>
        <p:nvCxnSpPr>
          <p:cNvPr id="6" name="Straight Arrow Connector 5"/>
          <p:cNvCxnSpPr/>
          <p:nvPr/>
        </p:nvCxnSpPr>
        <p:spPr>
          <a:xfrm flipH="1">
            <a:off x="4376057" y="3592286"/>
            <a:ext cx="1665514" cy="0"/>
          </a:xfrm>
          <a:prstGeom prst="straightConnector1">
            <a:avLst/>
          </a:prstGeom>
          <a:ln w="12700">
            <a:solidFill>
              <a:schemeClr val="tx2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/>
          <p:cNvSpPr/>
          <p:nvPr/>
        </p:nvSpPr>
        <p:spPr>
          <a:xfrm>
            <a:off x="3026392" y="3352801"/>
            <a:ext cx="1796143" cy="5007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400" dirty="0" smtClean="0">
                <a:solidFill>
                  <a:schemeClr val="tx1"/>
                </a:solidFill>
              </a:rPr>
              <a:t>Library</a:t>
            </a:r>
          </a:p>
        </p:txBody>
      </p:sp>
      <p:cxnSp>
        <p:nvCxnSpPr>
          <p:cNvPr id="13" name="Elbow Connector 12"/>
          <p:cNvCxnSpPr/>
          <p:nvPr/>
        </p:nvCxnSpPr>
        <p:spPr>
          <a:xfrm rot="10800000" flipV="1">
            <a:off x="4376057" y="2364923"/>
            <a:ext cx="2046514" cy="726621"/>
          </a:xfrm>
          <a:prstGeom prst="bentConnector3">
            <a:avLst/>
          </a:prstGeom>
          <a:ln w="12700">
            <a:solidFill>
              <a:schemeClr val="tx2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/>
        </p:nvSpPr>
        <p:spPr>
          <a:xfrm>
            <a:off x="3026392" y="2830288"/>
            <a:ext cx="1796143" cy="5007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400" dirty="0" smtClean="0">
                <a:solidFill>
                  <a:schemeClr val="tx1"/>
                </a:solidFill>
              </a:rPr>
              <a:t>Package</a:t>
            </a:r>
          </a:p>
        </p:txBody>
      </p:sp>
      <p:sp>
        <p:nvSpPr>
          <p:cNvPr id="5" name="Rectangle 4"/>
          <p:cNvSpPr/>
          <p:nvPr/>
        </p:nvSpPr>
        <p:spPr>
          <a:xfrm>
            <a:off x="6437708" y="692988"/>
            <a:ext cx="226215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>
                <a:solidFill>
                  <a:srgbClr val="0070C0"/>
                </a:solidFill>
                <a:latin typeface="Arial"/>
                <a:hlinkClick r:id="rId4" action="ppaction://hlinksldjump"/>
              </a:rPr>
              <a:t>Flow of presentation</a:t>
            </a:r>
            <a:endParaRPr lang="en-US" dirty="0">
              <a:solidFill>
                <a:srgbClr val="0070C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2474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5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350393" y="1096919"/>
            <a:ext cx="8348472" cy="5097052"/>
          </a:xfrm>
        </p:spPr>
        <p:txBody>
          <a:bodyPr/>
          <a:lstStyle/>
          <a:p>
            <a:pPr marL="381000" indent="-381000">
              <a:lnSpc>
                <a:spcPct val="80000"/>
              </a:lnSpc>
            </a:pPr>
            <a:r>
              <a:rPr lang="en-US" dirty="0"/>
              <a:t>There are some restrictions when giving an object a name</a:t>
            </a:r>
            <a:r>
              <a:rPr lang="en-US" dirty="0" smtClean="0"/>
              <a:t>:</a:t>
            </a:r>
          </a:p>
          <a:p>
            <a:pPr marL="800100" lvl="1" indent="-342900">
              <a:lnSpc>
                <a:spcPct val="80000"/>
              </a:lnSpc>
            </a:pPr>
            <a:endParaRPr lang="en-US" dirty="0" smtClean="0"/>
          </a:p>
          <a:p>
            <a:pPr marL="800100" lvl="1" indent="-342900">
              <a:lnSpc>
                <a:spcPct val="80000"/>
              </a:lnSpc>
            </a:pPr>
            <a:r>
              <a:rPr lang="en-US" dirty="0" smtClean="0"/>
              <a:t>Object </a:t>
            </a:r>
            <a:r>
              <a:rPr lang="en-US" dirty="0"/>
              <a:t>names cannot contain `strange' symbols like !, +, </a:t>
            </a:r>
            <a:r>
              <a:rPr lang="en-US" dirty="0" smtClean="0"/>
              <a:t>-,#</a:t>
            </a:r>
          </a:p>
          <a:p>
            <a:pPr marL="800100" lvl="1" indent="-342900">
              <a:lnSpc>
                <a:spcPct val="80000"/>
              </a:lnSpc>
            </a:pPr>
            <a:endParaRPr lang="en-US" dirty="0"/>
          </a:p>
          <a:p>
            <a:pPr marL="800100" lvl="1" indent="-342900">
              <a:lnSpc>
                <a:spcPct val="80000"/>
              </a:lnSpc>
            </a:pPr>
            <a:r>
              <a:rPr lang="en-US" dirty="0"/>
              <a:t> </a:t>
            </a:r>
            <a:r>
              <a:rPr lang="en-US" dirty="0" smtClean="0"/>
              <a:t>A </a:t>
            </a:r>
            <a:r>
              <a:rPr lang="en-US" dirty="0"/>
              <a:t>dot (.) and an underscore ( _) are allowed, also a name starting with a </a:t>
            </a:r>
            <a:r>
              <a:rPr lang="en-US" dirty="0" smtClean="0"/>
              <a:t>dot</a:t>
            </a:r>
          </a:p>
          <a:p>
            <a:pPr marL="800100" lvl="1" indent="-342900">
              <a:lnSpc>
                <a:spcPct val="80000"/>
              </a:lnSpc>
            </a:pPr>
            <a:endParaRPr lang="en-US" dirty="0"/>
          </a:p>
          <a:p>
            <a:pPr marL="800100" lvl="1" indent="-342900">
              <a:lnSpc>
                <a:spcPct val="80000"/>
              </a:lnSpc>
            </a:pPr>
            <a:r>
              <a:rPr lang="en-US" dirty="0"/>
              <a:t> Object names can contain a number but cannot start with a </a:t>
            </a:r>
            <a:r>
              <a:rPr lang="en-US" dirty="0" smtClean="0"/>
              <a:t>number</a:t>
            </a:r>
          </a:p>
          <a:p>
            <a:pPr marL="381000" indent="-381000">
              <a:lnSpc>
                <a:spcPct val="80000"/>
              </a:lnSpc>
            </a:pPr>
            <a:endParaRPr lang="en-US" dirty="0" smtClean="0"/>
          </a:p>
          <a:p>
            <a:pPr marL="381000" indent="-381000">
              <a:lnSpc>
                <a:spcPct val="80000"/>
              </a:lnSpc>
            </a:pPr>
            <a:endParaRPr lang="en-US" dirty="0" smtClean="0"/>
          </a:p>
          <a:p>
            <a:pPr marL="381000" indent="-381000">
              <a:lnSpc>
                <a:spcPct val="80000"/>
              </a:lnSpc>
            </a:pPr>
            <a:endParaRPr lang="en-US" dirty="0"/>
          </a:p>
          <a:p>
            <a:pPr marL="381000" indent="-381000">
              <a:lnSpc>
                <a:spcPct val="80000"/>
              </a:lnSpc>
            </a:pPr>
            <a:endParaRPr lang="en-US" dirty="0" smtClean="0"/>
          </a:p>
          <a:p>
            <a:pPr marL="381000" indent="-381000">
              <a:lnSpc>
                <a:spcPct val="80000"/>
              </a:lnSpc>
            </a:pPr>
            <a:r>
              <a:rPr lang="en-US" dirty="0" smtClean="0"/>
              <a:t>Objects can be created using </a:t>
            </a:r>
            <a:r>
              <a:rPr lang="en-US" dirty="0"/>
              <a:t>the assignment operators</a:t>
            </a:r>
            <a:r>
              <a:rPr lang="en-US" dirty="0" smtClean="0"/>
              <a:t>:</a:t>
            </a:r>
          </a:p>
          <a:p>
            <a:pPr marL="381000" indent="-381000">
              <a:lnSpc>
                <a:spcPct val="80000"/>
              </a:lnSpc>
            </a:pPr>
            <a:endParaRPr lang="en-US" dirty="0"/>
          </a:p>
          <a:p>
            <a:pPr marL="609600" lvl="1" indent="-381000">
              <a:lnSpc>
                <a:spcPct val="80000"/>
              </a:lnSpc>
            </a:pPr>
            <a:r>
              <a:rPr lang="en-US" dirty="0"/>
              <a:t> An arrow (&lt;-) formed by a smaller than character and a hyphen without a space</a:t>
            </a:r>
            <a:r>
              <a:rPr lang="en-US" dirty="0" smtClean="0"/>
              <a:t>!</a:t>
            </a:r>
          </a:p>
          <a:p>
            <a:pPr marL="228600" lvl="1" indent="0">
              <a:lnSpc>
                <a:spcPct val="80000"/>
              </a:lnSpc>
              <a:buNone/>
            </a:pPr>
            <a:endParaRPr lang="en-US" dirty="0"/>
          </a:p>
          <a:p>
            <a:pPr marL="228600" lvl="1" indent="0">
              <a:lnSpc>
                <a:spcPct val="80000"/>
              </a:lnSpc>
              <a:buNone/>
            </a:pPr>
            <a:r>
              <a:rPr lang="en-US" dirty="0"/>
              <a:t> </a:t>
            </a:r>
            <a:endParaRPr lang="en-US" dirty="0" smtClean="0"/>
          </a:p>
          <a:p>
            <a:pPr marL="609600" lvl="1" indent="-381000">
              <a:lnSpc>
                <a:spcPct val="80000"/>
              </a:lnSpc>
            </a:pPr>
            <a:r>
              <a:rPr lang="en-US" dirty="0" smtClean="0"/>
              <a:t>The </a:t>
            </a:r>
            <a:r>
              <a:rPr lang="en-US" dirty="0"/>
              <a:t>equal character (=)</a:t>
            </a:r>
          </a:p>
          <a:p>
            <a:pPr marL="800100" lvl="1" indent="-342900">
              <a:lnSpc>
                <a:spcPct val="80000"/>
              </a:lnSpc>
            </a:pPr>
            <a:endParaRPr lang="en-US" dirty="0" smtClean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R Programming Language - Basic || Day-1 || 18 Sep 2017 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claring an Object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6434489" y="690853"/>
            <a:ext cx="226215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>
                <a:solidFill>
                  <a:srgbClr val="0070C0"/>
                </a:solidFill>
                <a:latin typeface="Arial"/>
                <a:hlinkClick r:id="rId7" action="ppaction://hlinksldjump"/>
              </a:rPr>
              <a:t>Flow of presentation</a:t>
            </a:r>
            <a:endParaRPr lang="en-US" dirty="0">
              <a:solidFill>
                <a:srgbClr val="0070C0"/>
              </a:solidFill>
              <a:latin typeface="Arial"/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>
            <a:off x="455549" y="1018775"/>
            <a:ext cx="8138160" cy="0"/>
          </a:xfrm>
          <a:prstGeom prst="line">
            <a:avLst/>
          </a:prstGeom>
          <a:ln w="12700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767708" y="5578248"/>
            <a:ext cx="1581150" cy="44767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535511" y="4272642"/>
            <a:ext cx="1581150" cy="533400"/>
          </a:xfrm>
          <a:prstGeom prst="rect">
            <a:avLst/>
          </a:prstGeom>
        </p:spPr>
      </p:pic>
      <p:sp>
        <p:nvSpPr>
          <p:cNvPr id="9" name="Oval 8"/>
          <p:cNvSpPr/>
          <p:nvPr/>
        </p:nvSpPr>
        <p:spPr>
          <a:xfrm>
            <a:off x="7064829" y="4272642"/>
            <a:ext cx="283029" cy="366197"/>
          </a:xfrm>
          <a:prstGeom prst="ellipse">
            <a:avLst/>
          </a:prstGeom>
          <a:noFill/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200"/>
              </a:spcBef>
            </a:pPr>
            <a:endParaRPr lang="en-US" sz="1400" dirty="0" smtClean="0"/>
          </a:p>
        </p:txBody>
      </p:sp>
      <p:sp>
        <p:nvSpPr>
          <p:cNvPr id="22" name="Oval 21"/>
          <p:cNvSpPr/>
          <p:nvPr/>
        </p:nvSpPr>
        <p:spPr>
          <a:xfrm>
            <a:off x="4230714" y="5478332"/>
            <a:ext cx="283029" cy="366197"/>
          </a:xfrm>
          <a:prstGeom prst="ellipse">
            <a:avLst/>
          </a:prstGeom>
          <a:noFill/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200"/>
              </a:spcBef>
            </a:pPr>
            <a:endParaRPr lang="en-US" sz="1400" dirty="0" smtClean="0"/>
          </a:p>
        </p:txBody>
      </p:sp>
    </p:spTree>
    <p:extLst>
      <p:ext uri="{BB962C8B-B14F-4D97-AF65-F5344CB8AC3E}">
        <p14:creationId xmlns:p14="http://schemas.microsoft.com/office/powerpoint/2010/main" val="1818152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 – Day 1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>
          <a:xfrm>
            <a:off x="384047" y="1052554"/>
            <a:ext cx="8348472" cy="5001059"/>
          </a:xfrm>
        </p:spPr>
        <p:txBody>
          <a:bodyPr/>
          <a:lstStyle/>
          <a:p>
            <a:pPr marL="0" indent="0">
              <a:buNone/>
            </a:pPr>
            <a:r>
              <a:rPr lang="en-US" sz="1400" b="1" dirty="0" smtClean="0"/>
              <a:t>An </a:t>
            </a:r>
            <a:r>
              <a:rPr lang="en-US" sz="1400" b="1" dirty="0" smtClean="0"/>
              <a:t>Overview of R</a:t>
            </a:r>
            <a:endParaRPr lang="en-US" sz="1400" b="1" dirty="0"/>
          </a:p>
          <a:p>
            <a:r>
              <a:rPr lang="en-US" sz="1400" dirty="0" smtClean="0"/>
              <a:t>History </a:t>
            </a:r>
            <a:r>
              <a:rPr lang="en-US" sz="1400" dirty="0"/>
              <a:t>of R</a:t>
            </a:r>
            <a:endParaRPr lang="en-US" sz="1400" dirty="0" smtClean="0"/>
          </a:p>
          <a:p>
            <a:r>
              <a:rPr lang="en-US" sz="1400" dirty="0"/>
              <a:t>Why R</a:t>
            </a:r>
            <a:r>
              <a:rPr lang="en-US" sz="1400" dirty="0" smtClean="0"/>
              <a:t>?</a:t>
            </a:r>
          </a:p>
          <a:p>
            <a:r>
              <a:rPr lang="en-US" sz="1400" dirty="0"/>
              <a:t>Features &amp; Drawbacks of </a:t>
            </a:r>
            <a:r>
              <a:rPr lang="en-US" sz="1400" dirty="0" smtClean="0"/>
              <a:t>R</a:t>
            </a:r>
          </a:p>
          <a:p>
            <a:r>
              <a:rPr lang="en-US" sz="1400" dirty="0"/>
              <a:t>Installing </a:t>
            </a:r>
            <a:r>
              <a:rPr lang="en-US" sz="1400" dirty="0" smtClean="0"/>
              <a:t>R</a:t>
            </a:r>
          </a:p>
          <a:p>
            <a:r>
              <a:rPr lang="en-US" sz="1400" dirty="0" smtClean="0"/>
              <a:t>Different windows in R</a:t>
            </a:r>
          </a:p>
          <a:p>
            <a:r>
              <a:rPr lang="en-US" sz="1400" dirty="0" smtClean="0"/>
              <a:t>Installing </a:t>
            </a:r>
            <a:r>
              <a:rPr lang="en-US" sz="1400" dirty="0" err="1" smtClean="0"/>
              <a:t>RStudio</a:t>
            </a:r>
            <a:endParaRPr lang="en-US" sz="1400" dirty="0" smtClean="0"/>
          </a:p>
          <a:p>
            <a:r>
              <a:rPr lang="en-US" sz="1400" dirty="0" smtClean="0"/>
              <a:t>Different windows in </a:t>
            </a:r>
            <a:r>
              <a:rPr lang="en-US" sz="1400" dirty="0" err="1" smtClean="0"/>
              <a:t>RStudio</a:t>
            </a:r>
            <a:endParaRPr lang="en-US" sz="1400" dirty="0" smtClean="0"/>
          </a:p>
          <a:p>
            <a:r>
              <a:rPr lang="en-US" sz="1400" dirty="0" smtClean="0"/>
              <a:t>2017 </a:t>
            </a:r>
            <a:r>
              <a:rPr lang="en-US" sz="1400" dirty="0"/>
              <a:t>SAS, R, or Python Flash Survey </a:t>
            </a:r>
            <a:r>
              <a:rPr lang="en-US" sz="1400" dirty="0" smtClean="0"/>
              <a:t>Results</a:t>
            </a:r>
            <a:endParaRPr lang="en-US" sz="1400" dirty="0" smtClean="0"/>
          </a:p>
          <a:p>
            <a:pPr marL="342900" lvl="2">
              <a:spcBef>
                <a:spcPts val="1000"/>
              </a:spcBef>
              <a:buFont typeface="Arial" charset="0"/>
              <a:buChar char="•"/>
            </a:pPr>
            <a:endParaRPr lang="en-US" sz="1400" dirty="0" smtClean="0"/>
          </a:p>
          <a:p>
            <a:pPr marL="171450" lvl="1" indent="-171450">
              <a:spcBef>
                <a:spcPts val="1000"/>
              </a:spcBef>
              <a:buFont typeface="Arial" charset="0"/>
              <a:buChar char="•"/>
            </a:pPr>
            <a:endParaRPr lang="en-US" sz="1400" dirty="0" smtClean="0"/>
          </a:p>
          <a:p>
            <a:pPr marL="171450" lvl="1" indent="-171450">
              <a:spcBef>
                <a:spcPts val="1000"/>
              </a:spcBef>
              <a:buFont typeface="Arial" charset="0"/>
              <a:buChar char="•"/>
            </a:pPr>
            <a:endParaRPr lang="en-US" sz="1400" dirty="0"/>
          </a:p>
          <a:p>
            <a:pPr lvl="1"/>
            <a:endParaRPr lang="en-US" sz="1400" dirty="0" smtClean="0"/>
          </a:p>
          <a:p>
            <a:pPr lvl="1"/>
            <a:endParaRPr lang="en-US" sz="1400" dirty="0" smtClean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R Programming Language - Basic || Day-1 || 18 Sep 2017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682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R Programming Language - Basic || Day-1 || 18 Sep 2017 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An </a:t>
            </a:r>
            <a:r>
              <a:rPr lang="en-US" b="1" dirty="0" smtClean="0"/>
              <a:t>Overview of R </a:t>
            </a:r>
            <a:endParaRPr lang="en-US" b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7952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1995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8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>
          <a:xfrm>
            <a:off x="384047" y="1052554"/>
            <a:ext cx="8348472" cy="5001059"/>
          </a:xfrm>
        </p:spPr>
        <p:txBody>
          <a:bodyPr/>
          <a:lstStyle/>
          <a:p>
            <a:pPr marL="0" lvl="1" indent="0">
              <a:spcBef>
                <a:spcPts val="1000"/>
              </a:spcBef>
              <a:buNone/>
            </a:pPr>
            <a:r>
              <a:rPr lang="en-US" b="1" dirty="0" smtClean="0"/>
              <a:t>What is R?</a:t>
            </a:r>
          </a:p>
          <a:p>
            <a:pPr marL="285750" lvl="1" indent="-285750">
              <a:spcBef>
                <a:spcPts val="1000"/>
              </a:spcBef>
            </a:pPr>
            <a:r>
              <a:rPr lang="en-US" sz="1400" dirty="0" smtClean="0"/>
              <a:t>R is a dialect of the </a:t>
            </a:r>
            <a:r>
              <a:rPr lang="en-US" sz="1400" b="1" dirty="0" smtClean="0">
                <a:hlinkClick r:id="rId7" action="ppaction://hlinksldjump"/>
              </a:rPr>
              <a:t>S language</a:t>
            </a:r>
            <a:endParaRPr lang="en-US" sz="1400" b="1" dirty="0" smtClean="0"/>
          </a:p>
          <a:p>
            <a:pPr marL="0" lvl="1" indent="0">
              <a:spcBef>
                <a:spcPts val="1000"/>
              </a:spcBef>
              <a:buNone/>
            </a:pPr>
            <a:r>
              <a:rPr lang="en-US" b="1" dirty="0" smtClean="0"/>
              <a:t>Back to R :</a:t>
            </a:r>
          </a:p>
          <a:p>
            <a:pPr marL="285750" lvl="1" indent="-285750">
              <a:spcBef>
                <a:spcPts val="1000"/>
              </a:spcBef>
            </a:pPr>
            <a:r>
              <a:rPr lang="en-US" sz="1400" b="1" dirty="0" smtClean="0"/>
              <a:t>1991</a:t>
            </a:r>
            <a:r>
              <a:rPr lang="en-US" sz="1400" dirty="0" smtClean="0"/>
              <a:t> : Created in New Zealand by Ross </a:t>
            </a:r>
            <a:r>
              <a:rPr lang="en-US" sz="1400" dirty="0" err="1" smtClean="0"/>
              <a:t>Thaka</a:t>
            </a:r>
            <a:r>
              <a:rPr lang="en-US" sz="1400" dirty="0" smtClean="0"/>
              <a:t> and Robert Gentleman. Their experience in developing R is documented in JCGS paper (year -1996)</a:t>
            </a:r>
          </a:p>
          <a:p>
            <a:pPr marL="285750" lvl="1" indent="-285750">
              <a:spcBef>
                <a:spcPts val="1000"/>
              </a:spcBef>
            </a:pPr>
            <a:r>
              <a:rPr lang="en-US" sz="1400" b="1" dirty="0" smtClean="0"/>
              <a:t>1993</a:t>
            </a:r>
            <a:r>
              <a:rPr lang="en-US" sz="1400" dirty="0" smtClean="0"/>
              <a:t> : First announcement of R to public</a:t>
            </a:r>
          </a:p>
          <a:p>
            <a:pPr marL="285750" lvl="1" indent="-285750">
              <a:spcBef>
                <a:spcPts val="1000"/>
              </a:spcBef>
            </a:pPr>
            <a:r>
              <a:rPr lang="en-US" sz="1400" b="1" dirty="0" smtClean="0"/>
              <a:t>1995</a:t>
            </a:r>
            <a:r>
              <a:rPr lang="en-US" sz="1400" dirty="0" smtClean="0"/>
              <a:t> : Martin </a:t>
            </a:r>
            <a:r>
              <a:rPr lang="en-US" sz="1400" dirty="0" err="1" smtClean="0"/>
              <a:t>Mächler</a:t>
            </a:r>
            <a:r>
              <a:rPr lang="en-US" sz="1400" dirty="0" smtClean="0"/>
              <a:t> convinced Ross and Robert to use the GNU General Public License to make R free software</a:t>
            </a:r>
          </a:p>
          <a:p>
            <a:pPr marL="285750" lvl="1" indent="-285750">
              <a:spcBef>
                <a:spcPts val="1000"/>
              </a:spcBef>
            </a:pPr>
            <a:r>
              <a:rPr lang="en-US" sz="1400" b="1" dirty="0" smtClean="0"/>
              <a:t>2000</a:t>
            </a:r>
            <a:r>
              <a:rPr lang="en-US" sz="1400" dirty="0" smtClean="0"/>
              <a:t> : R version 1.0.0 was released</a:t>
            </a:r>
          </a:p>
          <a:p>
            <a:pPr marL="285750" lvl="1" indent="-285750">
              <a:spcBef>
                <a:spcPts val="1000"/>
              </a:spcBef>
            </a:pPr>
            <a:r>
              <a:rPr lang="en-US" sz="1400" b="1" dirty="0" smtClean="0"/>
              <a:t>2013</a:t>
            </a:r>
            <a:r>
              <a:rPr lang="en-US" sz="1400" dirty="0" smtClean="0"/>
              <a:t> : R version 3.0.2 was released on October 2013 (bug fix release Dec </a:t>
            </a:r>
            <a:r>
              <a:rPr lang="en-US" sz="1400" dirty="0" smtClean="0"/>
              <a:t>2013)</a:t>
            </a:r>
            <a:endParaRPr lang="en-US" sz="1400" dirty="0" smtClean="0"/>
          </a:p>
          <a:p>
            <a:pPr marL="285750" lvl="1" indent="-285750">
              <a:spcBef>
                <a:spcPts val="1000"/>
              </a:spcBef>
            </a:pPr>
            <a:r>
              <a:rPr lang="en-US" sz="1400" b="1" dirty="0" smtClean="0"/>
              <a:t>2017</a:t>
            </a:r>
            <a:r>
              <a:rPr lang="en-US" sz="1400" dirty="0" smtClean="0"/>
              <a:t> : R version 3.4.1 was released on April 2017 (bug fix release June 2017)</a:t>
            </a:r>
          </a:p>
          <a:p>
            <a:pPr marL="457200" lvl="2" indent="-285750">
              <a:spcBef>
                <a:spcPts val="1000"/>
              </a:spcBef>
              <a:buFont typeface="Wingdings" panose="05000000000000000000" pitchFamily="2" charset="2"/>
              <a:buChar char="ü"/>
            </a:pPr>
            <a:endParaRPr lang="en-US" sz="1400" dirty="0" smtClean="0"/>
          </a:p>
          <a:p>
            <a:pPr marL="342900" lvl="2">
              <a:spcBef>
                <a:spcPts val="1000"/>
              </a:spcBef>
              <a:buFont typeface="Arial" charset="0"/>
              <a:buChar char="•"/>
            </a:pPr>
            <a:endParaRPr lang="en-US" sz="1400" dirty="0" smtClean="0"/>
          </a:p>
          <a:p>
            <a:pPr marL="171450" lvl="1" indent="-171450">
              <a:spcBef>
                <a:spcPts val="1000"/>
              </a:spcBef>
              <a:buFont typeface="Arial" charset="0"/>
              <a:buChar char="•"/>
            </a:pPr>
            <a:endParaRPr lang="en-US" sz="1400" dirty="0" smtClean="0"/>
          </a:p>
          <a:p>
            <a:pPr marL="171450" lvl="1" indent="-171450">
              <a:spcBef>
                <a:spcPts val="1000"/>
              </a:spcBef>
              <a:buFont typeface="Arial" charset="0"/>
              <a:buChar char="•"/>
            </a:pPr>
            <a:endParaRPr lang="en-US" sz="1400" dirty="0" smtClean="0"/>
          </a:p>
          <a:p>
            <a:pPr marL="171450" lvl="1" indent="-171450">
              <a:spcBef>
                <a:spcPts val="1000"/>
              </a:spcBef>
              <a:buFont typeface="Arial" charset="0"/>
              <a:buChar char="•"/>
            </a:pPr>
            <a:endParaRPr lang="en-US" sz="1400" dirty="0" smtClean="0"/>
          </a:p>
          <a:p>
            <a:pPr lvl="1"/>
            <a:endParaRPr lang="en-US" sz="1400" dirty="0" smtClean="0"/>
          </a:p>
          <a:p>
            <a:pPr lvl="1"/>
            <a:endParaRPr lang="en-US" sz="1400" dirty="0" smtClean="0"/>
          </a:p>
        </p:txBody>
      </p:sp>
      <p:sp>
        <p:nvSpPr>
          <p:cNvPr id="2" name="TextBox 1"/>
          <p:cNvSpPr txBox="1"/>
          <p:nvPr/>
        </p:nvSpPr>
        <p:spPr>
          <a:xfrm>
            <a:off x="455549" y="5243615"/>
            <a:ext cx="8368761" cy="1107996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400"/>
              </a:spcBef>
            </a:pPr>
            <a:r>
              <a:rPr lang="en-US" sz="1400" b="1" dirty="0" smtClean="0"/>
              <a:t>Note</a:t>
            </a:r>
            <a:r>
              <a:rPr lang="en-US" sz="1400" dirty="0" smtClean="0"/>
              <a:t> : </a:t>
            </a:r>
          </a:p>
          <a:p>
            <a:pPr marL="285750" indent="-285750">
              <a:spcBef>
                <a:spcPts val="400"/>
              </a:spcBef>
              <a:buFont typeface="Wingdings" panose="05000000000000000000" pitchFamily="2" charset="2"/>
              <a:buChar char="Ø"/>
            </a:pPr>
            <a:r>
              <a:rPr lang="en-US" sz="1400" dirty="0" smtClean="0"/>
              <a:t>R releases new version twice in a year, </a:t>
            </a:r>
            <a:r>
              <a:rPr lang="en-US" sz="1400" dirty="0"/>
              <a:t>once in April and again in October. </a:t>
            </a:r>
            <a:endParaRPr lang="en-US" sz="1400" dirty="0" smtClean="0"/>
          </a:p>
          <a:p>
            <a:pPr marL="285750" indent="-285750">
              <a:spcBef>
                <a:spcPts val="400"/>
              </a:spcBef>
              <a:buFont typeface="Wingdings" panose="05000000000000000000" pitchFamily="2" charset="2"/>
              <a:buChar char="Ø"/>
            </a:pPr>
            <a:r>
              <a:rPr lang="en-US" sz="1400" dirty="0" smtClean="0"/>
              <a:t>This </a:t>
            </a:r>
            <a:r>
              <a:rPr lang="en-US" sz="1400" dirty="0"/>
              <a:t>is important to know because </a:t>
            </a:r>
            <a:r>
              <a:rPr lang="en-US" sz="1400" dirty="0" smtClean="0"/>
              <a:t>frequently we have to update our R version</a:t>
            </a:r>
            <a:endParaRPr lang="en-US" sz="1400" dirty="0"/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ＭＳ Ｐゴシック" charset="-128"/>
              <a:cs typeface="+mn-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istory of R</a:t>
            </a:r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R Programming Language - Basic || Day-1 || 18 Sep 2017 </a:t>
            </a:r>
            <a:endParaRPr lang="en-US" dirty="0"/>
          </a:p>
        </p:txBody>
      </p:sp>
      <p:grpSp>
        <p:nvGrpSpPr>
          <p:cNvPr id="12" name="Group 11"/>
          <p:cNvGrpSpPr/>
          <p:nvPr/>
        </p:nvGrpSpPr>
        <p:grpSpPr>
          <a:xfrm>
            <a:off x="6813324" y="3786490"/>
            <a:ext cx="2195604" cy="1318480"/>
            <a:chOff x="6813324" y="3786490"/>
            <a:chExt cx="2195604" cy="1318480"/>
          </a:xfrm>
        </p:grpSpPr>
        <p:pic>
          <p:nvPicPr>
            <p:cNvPr id="5" name="Picture 4" descr="gentleman_robert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37774" y="3786490"/>
              <a:ext cx="655935" cy="1027030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7" name="Picture 6" descr="ross-ihaka"/>
            <p:cNvPicPr>
              <a:picLocks noChangeAspect="1" noChangeArrowheads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04776" y="3801351"/>
              <a:ext cx="674857" cy="100584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Rectangle 7"/>
            <p:cNvSpPr/>
            <p:nvPr/>
          </p:nvSpPr>
          <p:spPr>
            <a:xfrm>
              <a:off x="6813324" y="4904040"/>
              <a:ext cx="1371600" cy="19594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200"/>
                </a:spcBef>
              </a:pPr>
              <a:r>
                <a:rPr lang="en-US" altLang="zh-CN" sz="1000" dirty="0" smtClean="0">
                  <a:solidFill>
                    <a:schemeClr val="tx1"/>
                  </a:solidFill>
                  <a:latin typeface="LCMSS8" charset="0"/>
                </a:rPr>
                <a:t>Ross</a:t>
              </a:r>
              <a:endParaRPr lang="en-US" sz="10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7637328" y="4909027"/>
              <a:ext cx="1371600" cy="19594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200"/>
                </a:spcBef>
              </a:pPr>
              <a:r>
                <a:rPr lang="en-US" altLang="zh-CN" sz="1000" dirty="0" smtClean="0">
                  <a:solidFill>
                    <a:schemeClr val="tx1"/>
                  </a:solidFill>
                  <a:latin typeface="LCMSS8" charset="0"/>
                </a:rPr>
                <a:t>Robert</a:t>
              </a:r>
              <a:endParaRPr lang="en-US" sz="1000" dirty="0" smtClean="0">
                <a:solidFill>
                  <a:schemeClr val="tx1"/>
                </a:solidFill>
              </a:endParaRPr>
            </a:p>
          </p:txBody>
        </p:sp>
      </p:grpSp>
      <p:cxnSp>
        <p:nvCxnSpPr>
          <p:cNvPr id="11" name="Straight Connector 10"/>
          <p:cNvCxnSpPr/>
          <p:nvPr/>
        </p:nvCxnSpPr>
        <p:spPr>
          <a:xfrm>
            <a:off x="455549" y="1018775"/>
            <a:ext cx="8138160" cy="0"/>
          </a:xfrm>
          <a:prstGeom prst="line">
            <a:avLst/>
          </a:prstGeom>
          <a:ln w="12700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11517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R?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>
          <a:xfrm>
            <a:off x="384047" y="1052554"/>
            <a:ext cx="8348472" cy="5001059"/>
          </a:xfrm>
        </p:spPr>
        <p:txBody>
          <a:bodyPr/>
          <a:lstStyle/>
          <a:p>
            <a:pPr marL="0" lvl="1" indent="0">
              <a:spcBef>
                <a:spcPts val="1000"/>
              </a:spcBef>
              <a:buNone/>
            </a:pPr>
            <a:r>
              <a:rPr lang="en-US" sz="1400" dirty="0" smtClean="0"/>
              <a:t>Why we have to learn R, when we have tools like SAS, SPSS, Rapid miner?</a:t>
            </a:r>
          </a:p>
          <a:p>
            <a:pPr marL="0" lvl="1" indent="0">
              <a:spcBef>
                <a:spcPts val="1000"/>
              </a:spcBef>
              <a:buNone/>
            </a:pPr>
            <a:r>
              <a:rPr lang="en-US" sz="1400" dirty="0" smtClean="0"/>
              <a:t>Because...</a:t>
            </a:r>
            <a:endParaRPr lang="en-US" sz="1400" dirty="0"/>
          </a:p>
          <a:p>
            <a:r>
              <a:rPr lang="en-US" sz="1400" dirty="0"/>
              <a:t>It </a:t>
            </a:r>
            <a:r>
              <a:rPr lang="en-US" sz="1400" dirty="0" smtClean="0"/>
              <a:t>is an </a:t>
            </a:r>
            <a:r>
              <a:rPr lang="en-US" sz="1400" dirty="0"/>
              <a:t>open source software</a:t>
            </a:r>
          </a:p>
          <a:p>
            <a:pPr lvl="0"/>
            <a:r>
              <a:rPr lang="en-US" sz="1400" dirty="0"/>
              <a:t>It runs on a variety of platforms including Windows, Unix and </a:t>
            </a:r>
            <a:r>
              <a:rPr lang="en-US" sz="1400" dirty="0" smtClean="0"/>
              <a:t>Mac OS (Operating System)</a:t>
            </a:r>
          </a:p>
          <a:p>
            <a:pPr lvl="0"/>
            <a:r>
              <a:rPr lang="en-US" sz="1400" dirty="0"/>
              <a:t>Frequent releases (annual </a:t>
            </a:r>
            <a:r>
              <a:rPr lang="en-US" sz="1400" dirty="0" smtClean="0"/>
              <a:t>+bug fix </a:t>
            </a:r>
            <a:r>
              <a:rPr lang="en-US" sz="1400" dirty="0"/>
              <a:t>release): active development</a:t>
            </a:r>
          </a:p>
          <a:p>
            <a:pPr marL="0" lvl="1" indent="0">
              <a:spcBef>
                <a:spcPts val="1000"/>
              </a:spcBef>
              <a:buNone/>
            </a:pPr>
            <a:endParaRPr lang="en-US" sz="1400" dirty="0" smtClean="0"/>
          </a:p>
          <a:p>
            <a:pPr marL="171450" lvl="1" indent="-171450">
              <a:spcBef>
                <a:spcPts val="1000"/>
              </a:spcBef>
              <a:buFont typeface="Arial" charset="0"/>
              <a:buChar char="•"/>
            </a:pPr>
            <a:endParaRPr lang="en-US" sz="1400" dirty="0"/>
          </a:p>
          <a:p>
            <a:pPr lvl="1"/>
            <a:endParaRPr lang="en-US" sz="1400" dirty="0" smtClean="0"/>
          </a:p>
          <a:p>
            <a:pPr lvl="1"/>
            <a:endParaRPr lang="en-US" sz="1400" dirty="0" smtClean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R Programming Language - Basic || Day-1 || 18 Sep 2017 </a:t>
            </a:r>
            <a:endParaRPr lang="en-US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455549" y="1018775"/>
            <a:ext cx="8138160" cy="0"/>
          </a:xfrm>
          <a:prstGeom prst="line">
            <a:avLst/>
          </a:prstGeom>
          <a:ln w="12700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/>
          <p:cNvGrpSpPr/>
          <p:nvPr/>
        </p:nvGrpSpPr>
        <p:grpSpPr>
          <a:xfrm>
            <a:off x="384047" y="2773976"/>
            <a:ext cx="8077722" cy="3135404"/>
            <a:chOff x="384047" y="2773976"/>
            <a:chExt cx="8077722" cy="3135404"/>
          </a:xfrm>
        </p:grpSpPr>
        <p:pic>
          <p:nvPicPr>
            <p:cNvPr id="24" name="Picture 23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13909" y="4345975"/>
              <a:ext cx="1392140" cy="549836"/>
            </a:xfrm>
            <a:prstGeom prst="rect">
              <a:avLst/>
            </a:prstGeom>
          </p:spPr>
        </p:pic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60432" y="5253945"/>
              <a:ext cx="632457" cy="632457"/>
            </a:xfrm>
            <a:prstGeom prst="rect">
              <a:avLst/>
            </a:prstGeom>
          </p:spPr>
        </p:pic>
        <p:pic>
          <p:nvPicPr>
            <p:cNvPr id="26" name="Picture 25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07843" y="3397743"/>
              <a:ext cx="1685724" cy="597994"/>
            </a:xfrm>
            <a:prstGeom prst="rect">
              <a:avLst/>
            </a:prstGeom>
          </p:spPr>
        </p:pic>
        <p:pic>
          <p:nvPicPr>
            <p:cNvPr id="27" name="Picture 26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1858" y="5121118"/>
              <a:ext cx="569484" cy="759312"/>
            </a:xfrm>
            <a:prstGeom prst="rect">
              <a:avLst/>
            </a:prstGeom>
          </p:spPr>
        </p:pic>
        <p:pic>
          <p:nvPicPr>
            <p:cNvPr id="28" name="Picture 27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01787" y="5253945"/>
              <a:ext cx="659982" cy="613455"/>
            </a:xfrm>
            <a:prstGeom prst="rect">
              <a:avLst/>
            </a:prstGeom>
          </p:spPr>
        </p:pic>
        <p:pic>
          <p:nvPicPr>
            <p:cNvPr id="29" name="Picture 28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1335" y="4325616"/>
              <a:ext cx="1147662" cy="493292"/>
            </a:xfrm>
            <a:prstGeom prst="rect">
              <a:avLst/>
            </a:prstGeom>
          </p:spPr>
        </p:pic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61838" y="5265188"/>
              <a:ext cx="1150343" cy="644192"/>
            </a:xfrm>
            <a:prstGeom prst="rect">
              <a:avLst/>
            </a:prstGeom>
          </p:spPr>
        </p:pic>
        <p:pic>
          <p:nvPicPr>
            <p:cNvPr id="31" name="Picture 30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15536" y="3339235"/>
              <a:ext cx="605333" cy="605333"/>
            </a:xfrm>
            <a:prstGeom prst="rect">
              <a:avLst/>
            </a:prstGeom>
          </p:spPr>
        </p:pic>
        <p:pic>
          <p:nvPicPr>
            <p:cNvPr id="32" name="Picture 31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86653" y="5287229"/>
              <a:ext cx="910809" cy="613879"/>
            </a:xfrm>
            <a:prstGeom prst="rect">
              <a:avLst/>
            </a:prstGeom>
          </p:spPr>
        </p:pic>
        <p:pic>
          <p:nvPicPr>
            <p:cNvPr id="33" name="Picture 32"/>
            <p:cNvPicPr>
              <a:picLocks noChangeAspect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69" t="17427" r="17808" b="20908"/>
            <a:stretch/>
          </p:blipFill>
          <p:spPr>
            <a:xfrm>
              <a:off x="653589" y="3223304"/>
              <a:ext cx="960562" cy="701949"/>
            </a:xfrm>
            <a:prstGeom prst="rect">
              <a:avLst/>
            </a:prstGeom>
          </p:spPr>
        </p:pic>
        <p:pic>
          <p:nvPicPr>
            <p:cNvPr id="34" name="Picture 33"/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9643" y="4303947"/>
              <a:ext cx="1210965" cy="584862"/>
            </a:xfrm>
            <a:prstGeom prst="rect">
              <a:avLst/>
            </a:prstGeom>
          </p:spPr>
        </p:pic>
        <p:sp>
          <p:nvSpPr>
            <p:cNvPr id="35" name="Rectangle 34"/>
            <p:cNvSpPr/>
            <p:nvPr/>
          </p:nvSpPr>
          <p:spPr>
            <a:xfrm>
              <a:off x="384047" y="2773976"/>
              <a:ext cx="3523924" cy="2457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200"/>
                </a:spcBef>
              </a:pPr>
              <a:r>
                <a:rPr lang="en-US" b="1" u="sng" dirty="0" smtClean="0">
                  <a:solidFill>
                    <a:schemeClr val="tx1"/>
                  </a:solidFill>
                </a:rPr>
                <a:t>Widely used statistical tools</a:t>
              </a:r>
              <a:r>
                <a:rPr lang="en-US" dirty="0" smtClean="0">
                  <a:solidFill>
                    <a:schemeClr val="tx1"/>
                  </a:solidFill>
                </a:rPr>
                <a:t>:</a:t>
              </a:r>
            </a:p>
          </p:txBody>
        </p:sp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54909" y="3362520"/>
              <a:ext cx="2033632" cy="769108"/>
            </a:xfrm>
            <a:prstGeom prst="rect">
              <a:avLst/>
            </a:prstGeom>
          </p:spPr>
        </p:pic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68884" y="5244214"/>
              <a:ext cx="1281134" cy="640567"/>
            </a:xfrm>
            <a:prstGeom prst="rect">
              <a:avLst/>
            </a:prstGeom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09883" y="4426775"/>
              <a:ext cx="1737797" cy="36678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80926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eatures &amp; Drawbacks of R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>
          <a:xfrm>
            <a:off x="384047" y="1052554"/>
            <a:ext cx="8348472" cy="5239389"/>
          </a:xfrm>
        </p:spPr>
        <p:txBody>
          <a:bodyPr/>
          <a:lstStyle/>
          <a:p>
            <a:pPr marL="0" indent="0">
              <a:buNone/>
            </a:pPr>
            <a:r>
              <a:rPr lang="en-US" sz="1400" b="1" u="sng" dirty="0" smtClean="0"/>
              <a:t>Features</a:t>
            </a:r>
            <a:r>
              <a:rPr lang="en-US" sz="1400" dirty="0" smtClean="0"/>
              <a:t> :</a:t>
            </a:r>
            <a:endParaRPr lang="en-US" sz="1400" dirty="0"/>
          </a:p>
          <a:p>
            <a:r>
              <a:rPr lang="en-US" sz="1400" dirty="0"/>
              <a:t>It contains advanced statistical routines </a:t>
            </a:r>
            <a:r>
              <a:rPr lang="en-US" sz="1400" dirty="0" smtClean="0"/>
              <a:t>which are not available </a:t>
            </a:r>
            <a:r>
              <a:rPr lang="en-US" sz="1400" dirty="0"/>
              <a:t>in other </a:t>
            </a:r>
            <a:r>
              <a:rPr lang="en-US" sz="1400" dirty="0" smtClean="0"/>
              <a:t>tools (basic version) </a:t>
            </a:r>
            <a:endParaRPr lang="en-US" sz="1400" dirty="0"/>
          </a:p>
          <a:p>
            <a:pPr lvl="0"/>
            <a:r>
              <a:rPr lang="en-US" sz="1400" dirty="0" smtClean="0"/>
              <a:t>Graphical capabilities are better than other tools (basic version)</a:t>
            </a:r>
            <a:endParaRPr lang="en-US" sz="1400" dirty="0"/>
          </a:p>
          <a:p>
            <a:r>
              <a:rPr lang="en-US" sz="1400" dirty="0"/>
              <a:t>There are many online forums, email lists, interest groups, blogs, and websites full of rich information about </a:t>
            </a:r>
            <a:r>
              <a:rPr lang="en-US" sz="1400" dirty="0" smtClean="0"/>
              <a:t>R</a:t>
            </a:r>
            <a:endParaRPr lang="en-US" sz="1400" dirty="0"/>
          </a:p>
          <a:p>
            <a:endParaRPr lang="en-US" sz="1400" dirty="0" smtClean="0"/>
          </a:p>
          <a:p>
            <a:pPr marL="0" indent="0">
              <a:buNone/>
            </a:pPr>
            <a:endParaRPr lang="en-US" sz="1400" dirty="0" smtClean="0"/>
          </a:p>
          <a:p>
            <a:pPr marL="0" indent="0">
              <a:buNone/>
            </a:pPr>
            <a:endParaRPr lang="en-US" sz="1400" b="1" u="sng" dirty="0" smtClean="0"/>
          </a:p>
          <a:p>
            <a:pPr marL="0" indent="0">
              <a:buNone/>
            </a:pPr>
            <a:r>
              <a:rPr lang="en-US" sz="1400" b="1" u="sng" dirty="0" smtClean="0"/>
              <a:t>Drawbacks</a:t>
            </a:r>
            <a:r>
              <a:rPr lang="en-US" sz="1400" b="1" dirty="0" smtClean="0"/>
              <a:t> </a:t>
            </a:r>
            <a:r>
              <a:rPr lang="en-US" sz="1400" dirty="0" smtClean="0"/>
              <a:t>:</a:t>
            </a:r>
          </a:p>
          <a:p>
            <a:r>
              <a:rPr lang="en-US" sz="1400" dirty="0"/>
              <a:t>Essentially based on 40 years old </a:t>
            </a:r>
            <a:r>
              <a:rPr lang="en-US" sz="1400" dirty="0" smtClean="0"/>
              <a:t>technology</a:t>
            </a:r>
          </a:p>
          <a:p>
            <a:r>
              <a:rPr lang="en-US" sz="1400" dirty="0"/>
              <a:t>R makes use of system memory to handle data processing and this would limit the amount of data that can be handled based on system's RAM capabilities</a:t>
            </a:r>
            <a:r>
              <a:rPr lang="en-US" sz="1400" dirty="0" smtClean="0"/>
              <a:t>.</a:t>
            </a:r>
          </a:p>
          <a:p>
            <a:pPr lvl="1"/>
            <a:r>
              <a:rPr lang="en-US" sz="1400" dirty="0"/>
              <a:t>Higher system RAM provides better </a:t>
            </a:r>
            <a:r>
              <a:rPr lang="en-US" sz="1400" dirty="0" smtClean="0"/>
              <a:t>processing (e.g.) </a:t>
            </a:r>
            <a:r>
              <a:rPr lang="en-US" sz="1400" dirty="0"/>
              <a:t>systems with 16 GB RAM performs better than 8 GB for processing large datasets</a:t>
            </a:r>
            <a:r>
              <a:rPr lang="en-US" sz="1400" dirty="0" smtClean="0"/>
              <a:t>.</a:t>
            </a:r>
          </a:p>
          <a:p>
            <a:pPr lvl="1"/>
            <a:r>
              <a:rPr lang="en-US" sz="1400" dirty="0"/>
              <a:t>One of the common memory error shown in R console would be </a:t>
            </a:r>
            <a:r>
              <a:rPr lang="en-US" sz="1400" dirty="0" smtClean="0"/>
              <a:t>– cannot </a:t>
            </a:r>
            <a:r>
              <a:rPr lang="en-US" sz="1400" dirty="0"/>
              <a:t>allocate vector of size</a:t>
            </a:r>
          </a:p>
          <a:p>
            <a:pPr marL="0" indent="0">
              <a:buNone/>
            </a:pPr>
            <a:endParaRPr lang="en-US" sz="1400" dirty="0"/>
          </a:p>
          <a:p>
            <a:pPr lvl="1"/>
            <a:endParaRPr lang="en-US" sz="1400" dirty="0" smtClean="0"/>
          </a:p>
          <a:p>
            <a:pPr lvl="1"/>
            <a:endParaRPr lang="en-US" sz="1400" dirty="0" smtClean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R Programming Language - Basic || Day-1 || 18 Sep 2017 </a:t>
            </a:r>
            <a:endParaRPr lang="en-US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455549" y="1018775"/>
            <a:ext cx="8138160" cy="0"/>
          </a:xfrm>
          <a:prstGeom prst="line">
            <a:avLst/>
          </a:prstGeom>
          <a:ln w="12700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5846155" y="2511197"/>
            <a:ext cx="2747554" cy="1407660"/>
            <a:chOff x="5846155" y="2511197"/>
            <a:chExt cx="2747554" cy="1407660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46155" y="2511197"/>
              <a:ext cx="1599673" cy="1064510"/>
            </a:xfrm>
            <a:prstGeom prst="rect">
              <a:avLst/>
            </a:prstGeom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87032" y="2919376"/>
              <a:ext cx="1406677" cy="999481"/>
            </a:xfrm>
            <a:prstGeom prst="rect">
              <a:avLst/>
            </a:prstGeom>
          </p:spPr>
        </p:pic>
      </p:grpSp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6201" y="5718075"/>
            <a:ext cx="573868" cy="573868"/>
          </a:xfrm>
          <a:prstGeom prst="rect">
            <a:avLst/>
          </a:prstGeom>
        </p:spPr>
      </p:pic>
      <p:grpSp>
        <p:nvGrpSpPr>
          <p:cNvPr id="4" name="Group 3"/>
          <p:cNvGrpSpPr/>
          <p:nvPr/>
        </p:nvGrpSpPr>
        <p:grpSpPr>
          <a:xfrm>
            <a:off x="2314339" y="2497679"/>
            <a:ext cx="2964226" cy="1030594"/>
            <a:chOff x="2314339" y="2497679"/>
            <a:chExt cx="2964226" cy="1030594"/>
          </a:xfrm>
        </p:grpSpPr>
        <p:pic>
          <p:nvPicPr>
            <p:cNvPr id="24" name="Picture 23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314339" y="2497679"/>
              <a:ext cx="2964226" cy="843393"/>
            </a:xfrm>
            <a:prstGeom prst="rect">
              <a:avLst/>
            </a:prstGeom>
          </p:spPr>
        </p:pic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096931" y="3380043"/>
              <a:ext cx="1078786" cy="14823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62987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9732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8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5"/>
          <p:cNvGrpSpPr/>
          <p:nvPr/>
        </p:nvGrpSpPr>
        <p:grpSpPr>
          <a:xfrm>
            <a:off x="871069" y="3445450"/>
            <a:ext cx="3776472" cy="2051825"/>
            <a:chOff x="871069" y="3445450"/>
            <a:chExt cx="3776472" cy="2051825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71072" y="3445450"/>
              <a:ext cx="3776469" cy="2051825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17" name="Oval 16"/>
            <p:cNvSpPr/>
            <p:nvPr/>
          </p:nvSpPr>
          <p:spPr>
            <a:xfrm>
              <a:off x="871069" y="5116275"/>
              <a:ext cx="381000" cy="38100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1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3091732" y="3738536"/>
            <a:ext cx="3776472" cy="2339381"/>
            <a:chOff x="3091732" y="3738536"/>
            <a:chExt cx="3776472" cy="2339381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091732" y="3738536"/>
              <a:ext cx="3776472" cy="2304482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16" name="Oval 15"/>
            <p:cNvSpPr/>
            <p:nvPr/>
          </p:nvSpPr>
          <p:spPr>
            <a:xfrm>
              <a:off x="3091732" y="5696917"/>
              <a:ext cx="381000" cy="38100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2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4873969" y="4454363"/>
            <a:ext cx="3782955" cy="1979674"/>
            <a:chOff x="4873969" y="4454363"/>
            <a:chExt cx="3782955" cy="1979674"/>
          </a:xfrm>
        </p:grpSpPr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880452" y="4454363"/>
              <a:ext cx="3776472" cy="1971535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15" name="Oval 14"/>
            <p:cNvSpPr/>
            <p:nvPr/>
          </p:nvSpPr>
          <p:spPr>
            <a:xfrm>
              <a:off x="4873969" y="6053037"/>
              <a:ext cx="381000" cy="38100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3</a:t>
              </a:r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stalling R</a:t>
            </a:r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R Programming Language - Basic || Day-1 || 18 Sep 2017 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400" b="1" dirty="0"/>
              <a:t>Step </a:t>
            </a:r>
            <a:r>
              <a:rPr lang="en-US" sz="1400" b="1" dirty="0" smtClean="0"/>
              <a:t>1 :</a:t>
            </a:r>
            <a:r>
              <a:rPr lang="en-US" sz="1400" dirty="0"/>
              <a:t> </a:t>
            </a:r>
            <a:r>
              <a:rPr lang="en-US" sz="1400" dirty="0" smtClean="0"/>
              <a:t>Enter </a:t>
            </a:r>
            <a:r>
              <a:rPr lang="en-US" sz="1400" dirty="0"/>
              <a:t>the path</a:t>
            </a:r>
            <a:r>
              <a:rPr lang="en-US" sz="1400" b="1" dirty="0"/>
              <a:t> </a:t>
            </a:r>
            <a:r>
              <a:rPr lang="en-US" sz="1400" b="1" u="sng" dirty="0">
                <a:solidFill>
                  <a:srgbClr val="00B0F0"/>
                </a:solidFill>
                <a:hlinkClick r:id="rId10"/>
              </a:rPr>
              <a:t>https://cran.r-project.org</a:t>
            </a:r>
            <a:r>
              <a:rPr lang="en-US" sz="1400" b="1" dirty="0">
                <a:solidFill>
                  <a:srgbClr val="00B0F0"/>
                </a:solidFill>
              </a:rPr>
              <a:t> </a:t>
            </a:r>
            <a:r>
              <a:rPr lang="en-US" sz="1400" dirty="0"/>
              <a:t>in web browser URL. </a:t>
            </a:r>
            <a:r>
              <a:rPr lang="en-US" sz="1400" dirty="0" smtClean="0"/>
              <a:t>You will be directed to a particular page (as shown in snap shot 1) and </a:t>
            </a:r>
            <a:r>
              <a:rPr lang="en-US" sz="1400" dirty="0"/>
              <a:t>then select Download for Window if your system has Window OS else go for other options according to your System </a:t>
            </a:r>
            <a:r>
              <a:rPr lang="en-US" sz="1400" dirty="0" smtClean="0"/>
              <a:t>OS</a:t>
            </a:r>
          </a:p>
          <a:p>
            <a:pPr marL="0" indent="0">
              <a:buNone/>
            </a:pPr>
            <a:r>
              <a:rPr lang="en-US" sz="1400" b="1" dirty="0"/>
              <a:t>Step 2</a:t>
            </a:r>
            <a:r>
              <a:rPr lang="en-US" sz="1400" dirty="0" smtClean="0"/>
              <a:t> : Once you click on </a:t>
            </a:r>
            <a:r>
              <a:rPr lang="en-US" sz="1400" b="1" dirty="0">
                <a:hlinkClick r:id="rId11"/>
              </a:rPr>
              <a:t>Download R for Windows</a:t>
            </a:r>
            <a:r>
              <a:rPr lang="en-US" sz="1400" dirty="0" smtClean="0"/>
              <a:t>, you will see a particular page (</a:t>
            </a:r>
            <a:r>
              <a:rPr lang="en-US" sz="1400" dirty="0"/>
              <a:t>as </a:t>
            </a:r>
            <a:r>
              <a:rPr lang="en-US" sz="1400" dirty="0" smtClean="0"/>
              <a:t>in </a:t>
            </a:r>
            <a:r>
              <a:rPr lang="en-US" sz="1400" dirty="0"/>
              <a:t>snap shot </a:t>
            </a:r>
            <a:r>
              <a:rPr lang="en-US" sz="1400" dirty="0" smtClean="0"/>
              <a:t>2)</a:t>
            </a:r>
          </a:p>
          <a:p>
            <a:pPr marL="0" indent="0">
              <a:buNone/>
            </a:pPr>
            <a:r>
              <a:rPr lang="en-US" sz="1400" b="1" dirty="0"/>
              <a:t>Step 3</a:t>
            </a:r>
            <a:r>
              <a:rPr lang="en-US" sz="1400" dirty="0" smtClean="0"/>
              <a:t> : Once you click on </a:t>
            </a:r>
            <a:r>
              <a:rPr lang="en-US" sz="1400" b="1" dirty="0">
                <a:hlinkClick r:id="rId12"/>
              </a:rPr>
              <a:t>install R for the first time</a:t>
            </a:r>
            <a:r>
              <a:rPr lang="en-US" sz="1400" dirty="0" smtClean="0">
                <a:solidFill>
                  <a:schemeClr val="accent2">
                    <a:lumMod val="75000"/>
                  </a:schemeClr>
                </a:solidFill>
              </a:rPr>
              <a:t>, </a:t>
            </a:r>
            <a:r>
              <a:rPr lang="en-US" sz="1400" dirty="0" smtClean="0"/>
              <a:t>you will see a particular page (as in snap shot 3)</a:t>
            </a:r>
          </a:p>
          <a:p>
            <a:pPr marL="0" indent="0">
              <a:buNone/>
            </a:pPr>
            <a:r>
              <a:rPr lang="en-US" sz="1400" b="1" dirty="0"/>
              <a:t>Step </a:t>
            </a:r>
            <a:r>
              <a:rPr lang="en-US" sz="1400" b="1" dirty="0" smtClean="0"/>
              <a:t>4 </a:t>
            </a:r>
            <a:r>
              <a:rPr lang="en-US" sz="1400" dirty="0" smtClean="0"/>
              <a:t>: </a:t>
            </a:r>
            <a:r>
              <a:rPr lang="en-US" sz="1400" dirty="0"/>
              <a:t>Once you click on </a:t>
            </a:r>
            <a:r>
              <a:rPr lang="en-US" sz="1400" b="1" dirty="0">
                <a:hlinkClick r:id="rId13"/>
              </a:rPr>
              <a:t>Download R 3.4.1 for Windows</a:t>
            </a:r>
            <a:r>
              <a:rPr lang="en-US" sz="1400" dirty="0"/>
              <a:t> (62 megabytes, 32/64 bit)</a:t>
            </a:r>
            <a:r>
              <a:rPr lang="en-US" sz="1400" dirty="0" smtClean="0">
                <a:solidFill>
                  <a:schemeClr val="accent2">
                    <a:lumMod val="75000"/>
                  </a:schemeClr>
                </a:solidFill>
              </a:rPr>
              <a:t>,</a:t>
            </a:r>
            <a:r>
              <a:rPr lang="en-US" sz="1400" dirty="0" smtClean="0"/>
              <a:t>R will get downloaded in your system</a:t>
            </a:r>
            <a:endParaRPr lang="en-US" sz="1400" dirty="0"/>
          </a:p>
          <a:p>
            <a:pPr marL="0" indent="0">
              <a:buNone/>
            </a:pPr>
            <a:endParaRPr lang="en-US" sz="1400" u="sng" dirty="0">
              <a:solidFill>
                <a:schemeClr val="accent2">
                  <a:lumMod val="75000"/>
                </a:schemeClr>
              </a:solidFill>
            </a:endParaRPr>
          </a:p>
        </p:txBody>
      </p:sp>
      <p:cxnSp>
        <p:nvCxnSpPr>
          <p:cNvPr id="18" name="Straight Connector 17"/>
          <p:cNvCxnSpPr/>
          <p:nvPr/>
        </p:nvCxnSpPr>
        <p:spPr>
          <a:xfrm>
            <a:off x="455549" y="1018775"/>
            <a:ext cx="8138160" cy="0"/>
          </a:xfrm>
          <a:prstGeom prst="line">
            <a:avLst/>
          </a:prstGeom>
          <a:ln w="12700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08055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erent windows in R</a:t>
            </a: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R Programming Language - Basic || Day-1 || 18 Sep 2017 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US" sz="1400" dirty="0" smtClean="0"/>
              <a:t>Once you click on R icon in start menu, you </a:t>
            </a:r>
            <a:r>
              <a:rPr lang="en-US" sz="1400" dirty="0"/>
              <a:t>get to see </a:t>
            </a:r>
            <a:r>
              <a:rPr lang="en-US" sz="1400" dirty="0" smtClean="0"/>
              <a:t>2 </a:t>
            </a:r>
            <a:r>
              <a:rPr lang="en-US" sz="1400" dirty="0"/>
              <a:t>different windows </a:t>
            </a:r>
            <a:r>
              <a:rPr lang="en-US" sz="1400" dirty="0" smtClean="0"/>
              <a:t>as shown in snap shots below</a:t>
            </a:r>
          </a:p>
          <a:p>
            <a:endParaRPr lang="en-US" sz="1400" u="sng" dirty="0" smtClean="0">
              <a:solidFill>
                <a:schemeClr val="accent2">
                  <a:lumMod val="75000"/>
                </a:schemeClr>
              </a:solidFill>
            </a:endParaRPr>
          </a:p>
          <a:p>
            <a:endParaRPr lang="en-US" sz="1400" u="sng" dirty="0">
              <a:solidFill>
                <a:schemeClr val="accent2">
                  <a:lumMod val="75000"/>
                </a:schemeClr>
              </a:solidFill>
            </a:endParaRPr>
          </a:p>
          <a:p>
            <a:endParaRPr lang="en-US" sz="1400" u="sng" dirty="0" smtClean="0">
              <a:solidFill>
                <a:schemeClr val="accent2">
                  <a:lumMod val="75000"/>
                </a:schemeClr>
              </a:solidFill>
            </a:endParaRPr>
          </a:p>
          <a:p>
            <a:endParaRPr lang="en-US" sz="1400" u="sng" dirty="0">
              <a:solidFill>
                <a:schemeClr val="accent2">
                  <a:lumMod val="75000"/>
                </a:schemeClr>
              </a:solidFill>
            </a:endParaRPr>
          </a:p>
          <a:p>
            <a:endParaRPr lang="en-US" sz="1400" u="sng" dirty="0" smtClean="0">
              <a:solidFill>
                <a:schemeClr val="accent2">
                  <a:lumMod val="75000"/>
                </a:schemeClr>
              </a:solidFill>
            </a:endParaRPr>
          </a:p>
          <a:p>
            <a:endParaRPr lang="en-US" sz="1400" u="sng" dirty="0">
              <a:solidFill>
                <a:schemeClr val="accent2">
                  <a:lumMod val="75000"/>
                </a:schemeClr>
              </a:solidFill>
            </a:endParaRPr>
          </a:p>
          <a:p>
            <a:endParaRPr lang="en-US" sz="1400" u="sng" dirty="0" smtClean="0">
              <a:solidFill>
                <a:schemeClr val="accent2">
                  <a:lumMod val="75000"/>
                </a:schemeClr>
              </a:solidFill>
            </a:endParaRPr>
          </a:p>
          <a:p>
            <a:r>
              <a:rPr lang="en-US" sz="1400" b="1" dirty="0"/>
              <a:t>R Editor Window </a:t>
            </a:r>
            <a:r>
              <a:rPr lang="en-US" sz="1400" dirty="0" smtClean="0">
                <a:solidFill>
                  <a:schemeClr val="accent2">
                    <a:lumMod val="75000"/>
                  </a:schemeClr>
                </a:solidFill>
              </a:rPr>
              <a:t>: </a:t>
            </a:r>
            <a:r>
              <a:rPr lang="en-US" sz="1400" dirty="0" smtClean="0"/>
              <a:t>Where </a:t>
            </a:r>
            <a:r>
              <a:rPr lang="en-US" sz="1400" dirty="0"/>
              <a:t>multiple lines of code can be </a:t>
            </a:r>
            <a:r>
              <a:rPr lang="en-US" sz="1400" dirty="0" smtClean="0"/>
              <a:t>written. </a:t>
            </a:r>
            <a:r>
              <a:rPr lang="en-US" sz="1400" dirty="0"/>
              <a:t>Users can save script file to disk </a:t>
            </a:r>
            <a:r>
              <a:rPr lang="en-US" sz="1400" dirty="0" smtClean="0"/>
              <a:t>and recall based on the requirement</a:t>
            </a:r>
          </a:p>
          <a:p>
            <a:r>
              <a:rPr lang="en-US" sz="1400" b="1" dirty="0"/>
              <a:t>R Console </a:t>
            </a:r>
            <a:r>
              <a:rPr lang="en-US" sz="1400" b="1" dirty="0" smtClean="0"/>
              <a:t>Window </a:t>
            </a:r>
            <a:r>
              <a:rPr lang="en-US" sz="1400" dirty="0" smtClean="0"/>
              <a:t>:</a:t>
            </a:r>
            <a:r>
              <a:rPr lang="en-US" sz="1400" b="1" dirty="0" smtClean="0"/>
              <a:t> </a:t>
            </a:r>
            <a:r>
              <a:rPr lang="en-US" sz="1400" dirty="0"/>
              <a:t>All the interactive work of R is been performed here i.e. objects that you create the outputs will be displayed over here.</a:t>
            </a:r>
          </a:p>
          <a:p>
            <a:endParaRPr lang="en-US" sz="1400" dirty="0" smtClean="0">
              <a:solidFill>
                <a:schemeClr val="accent2">
                  <a:lumMod val="75000"/>
                </a:schemeClr>
              </a:solidFill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1304187" y="1914887"/>
            <a:ext cx="6508192" cy="1931321"/>
            <a:chOff x="705530" y="2489840"/>
            <a:chExt cx="6508192" cy="1931321"/>
          </a:xfrm>
        </p:grpSpPr>
        <p:grpSp>
          <p:nvGrpSpPr>
            <p:cNvPr id="4" name="Group 3"/>
            <p:cNvGrpSpPr/>
            <p:nvPr/>
          </p:nvGrpSpPr>
          <p:grpSpPr>
            <a:xfrm>
              <a:off x="705530" y="2489841"/>
              <a:ext cx="2843213" cy="1931320"/>
              <a:chOff x="705530" y="2489841"/>
              <a:chExt cx="2843213" cy="1931320"/>
            </a:xfrm>
          </p:grpSpPr>
          <p:pic>
            <p:nvPicPr>
              <p:cNvPr id="6" name="Picture 5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05530" y="2489841"/>
                <a:ext cx="2843213" cy="1931320"/>
              </a:xfrm>
              <a:prstGeom prst="rect">
                <a:avLst/>
              </a:prstGeom>
            </p:spPr>
          </p:pic>
          <p:sp>
            <p:nvSpPr>
              <p:cNvPr id="8" name="Rectangle 7"/>
              <p:cNvSpPr/>
              <p:nvPr/>
            </p:nvSpPr>
            <p:spPr>
              <a:xfrm>
                <a:off x="1842387" y="4136570"/>
                <a:ext cx="1673698" cy="27370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200"/>
                  </a:spcBef>
                </a:pPr>
                <a:r>
                  <a:rPr lang="en-US" sz="1000" b="1" dirty="0"/>
                  <a:t>R Editor window</a:t>
                </a:r>
              </a:p>
            </p:txBody>
          </p:sp>
        </p:grpSp>
        <p:grpSp>
          <p:nvGrpSpPr>
            <p:cNvPr id="5" name="Group 4"/>
            <p:cNvGrpSpPr/>
            <p:nvPr/>
          </p:nvGrpSpPr>
          <p:grpSpPr>
            <a:xfrm>
              <a:off x="4409394" y="2489840"/>
              <a:ext cx="2804328" cy="1931321"/>
              <a:chOff x="4409394" y="2489840"/>
              <a:chExt cx="2804328" cy="1931321"/>
            </a:xfrm>
          </p:grpSpPr>
          <p:pic>
            <p:nvPicPr>
              <p:cNvPr id="7" name="Picture 6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409394" y="2489840"/>
                <a:ext cx="2804328" cy="1931321"/>
              </a:xfrm>
              <a:prstGeom prst="rect">
                <a:avLst/>
              </a:prstGeom>
            </p:spPr>
          </p:pic>
          <p:sp>
            <p:nvSpPr>
              <p:cNvPr id="18" name="Rectangle 17"/>
              <p:cNvSpPr/>
              <p:nvPr/>
            </p:nvSpPr>
            <p:spPr>
              <a:xfrm>
                <a:off x="5522674" y="4136569"/>
                <a:ext cx="1673698" cy="27370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200"/>
                  </a:spcBef>
                </a:pPr>
                <a:r>
                  <a:rPr lang="en-US" sz="1000" b="1" dirty="0" smtClean="0"/>
                  <a:t>R Console window</a:t>
                </a:r>
                <a:endParaRPr lang="en-US" sz="1000" b="1" dirty="0"/>
              </a:p>
            </p:txBody>
          </p:sp>
        </p:grpSp>
      </p:grpSp>
      <p:cxnSp>
        <p:nvCxnSpPr>
          <p:cNvPr id="19" name="Straight Connector 18"/>
          <p:cNvCxnSpPr/>
          <p:nvPr/>
        </p:nvCxnSpPr>
        <p:spPr>
          <a:xfrm>
            <a:off x="455549" y="1018775"/>
            <a:ext cx="8138160" cy="0"/>
          </a:xfrm>
          <a:prstGeom prst="line">
            <a:avLst/>
          </a:prstGeom>
          <a:ln w="12700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0462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31707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/>
          <p:cNvGrpSpPr/>
          <p:nvPr/>
        </p:nvGrpSpPr>
        <p:grpSpPr>
          <a:xfrm>
            <a:off x="2002971" y="3838725"/>
            <a:ext cx="2653283" cy="2172851"/>
            <a:chOff x="2002971" y="3838725"/>
            <a:chExt cx="2653283" cy="2172851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002971" y="3838725"/>
              <a:ext cx="2653283" cy="2172851"/>
            </a:xfrm>
            <a:prstGeom prst="rect">
              <a:avLst/>
            </a:prstGeom>
            <a:noFill/>
            <a:ln>
              <a:solidFill>
                <a:schemeClr val="tx2"/>
              </a:solidFill>
            </a:ln>
          </p:spPr>
        </p:pic>
        <p:sp>
          <p:nvSpPr>
            <p:cNvPr id="18" name="Oval 17"/>
            <p:cNvSpPr/>
            <p:nvPr/>
          </p:nvSpPr>
          <p:spPr>
            <a:xfrm>
              <a:off x="2002971" y="5630576"/>
              <a:ext cx="381000" cy="38100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1</a:t>
              </a:r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stalling R Studio</a:t>
            </a:r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R Programming Language - Basic || Day-1 || 18 Sep 2017 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373161" y="1202478"/>
            <a:ext cx="8629324" cy="5001059"/>
          </a:xfrm>
        </p:spPr>
        <p:txBody>
          <a:bodyPr/>
          <a:lstStyle/>
          <a:p>
            <a:pPr marL="0" indent="0">
              <a:buNone/>
            </a:pPr>
            <a:r>
              <a:rPr lang="en-US" sz="1400" b="1" dirty="0"/>
              <a:t>Step </a:t>
            </a:r>
            <a:r>
              <a:rPr lang="en-US" sz="1400" b="1" dirty="0" smtClean="0"/>
              <a:t>1 </a:t>
            </a:r>
            <a:r>
              <a:rPr lang="en-US" sz="1400" dirty="0" smtClean="0"/>
              <a:t>:</a:t>
            </a:r>
            <a:r>
              <a:rPr lang="en-US" sz="1400" dirty="0"/>
              <a:t> You can simply install your </a:t>
            </a:r>
            <a:r>
              <a:rPr lang="en-US" sz="1400" dirty="0" err="1"/>
              <a:t>RStudio</a:t>
            </a:r>
            <a:r>
              <a:rPr lang="en-US" sz="1400" dirty="0"/>
              <a:t> by doing a </a:t>
            </a:r>
            <a:r>
              <a:rPr lang="en-US" sz="1400" dirty="0" smtClean="0"/>
              <a:t> </a:t>
            </a:r>
            <a:r>
              <a:rPr lang="en-US" sz="1400" b="1" dirty="0" smtClean="0">
                <a:solidFill>
                  <a:srgbClr val="00B0F0"/>
                </a:solidFill>
                <a:hlinkClick r:id="rId8"/>
              </a:rPr>
              <a:t>install </a:t>
            </a:r>
            <a:r>
              <a:rPr lang="en-US" sz="1400" b="1" dirty="0" err="1">
                <a:solidFill>
                  <a:srgbClr val="00B0F0"/>
                </a:solidFill>
                <a:hlinkClick r:id="rId8"/>
              </a:rPr>
              <a:t>RStudio</a:t>
            </a:r>
            <a:r>
              <a:rPr lang="en-US" sz="1400" b="1" dirty="0">
                <a:solidFill>
                  <a:srgbClr val="00B0F0"/>
                </a:solidFill>
                <a:hlinkClick r:id="rId8"/>
              </a:rPr>
              <a:t> on windows</a:t>
            </a:r>
            <a:r>
              <a:rPr lang="en-US" sz="1400" dirty="0"/>
              <a:t> </a:t>
            </a:r>
            <a:r>
              <a:rPr lang="en-US" sz="1400" dirty="0" smtClean="0"/>
              <a:t>google </a:t>
            </a:r>
            <a:r>
              <a:rPr lang="en-US" sz="1400" dirty="0"/>
              <a:t>search</a:t>
            </a:r>
            <a:endParaRPr lang="en-US" sz="1400" dirty="0" smtClean="0"/>
          </a:p>
          <a:p>
            <a:pPr marL="0" indent="0">
              <a:buNone/>
            </a:pPr>
            <a:r>
              <a:rPr lang="en-US" sz="1400" b="1" dirty="0"/>
              <a:t>Step 2</a:t>
            </a:r>
            <a:r>
              <a:rPr lang="en-US" sz="1400" dirty="0"/>
              <a:t> </a:t>
            </a:r>
            <a:r>
              <a:rPr lang="en-US" sz="1400" dirty="0" smtClean="0"/>
              <a:t>: As </a:t>
            </a:r>
            <a:r>
              <a:rPr lang="en-US" sz="1400" dirty="0"/>
              <a:t>soon as you get your options, you will be able to see </a:t>
            </a:r>
            <a:r>
              <a:rPr lang="en-US" sz="1400" dirty="0" smtClean="0"/>
              <a:t>the </a:t>
            </a:r>
            <a:r>
              <a:rPr lang="en-US" sz="1400" b="1" dirty="0" err="1">
                <a:hlinkClick r:id="rId9"/>
              </a:rPr>
              <a:t>RStudio</a:t>
            </a:r>
            <a:r>
              <a:rPr lang="en-US" sz="1400" b="1" dirty="0">
                <a:hlinkClick r:id="rId9"/>
              </a:rPr>
              <a:t> – </a:t>
            </a:r>
            <a:r>
              <a:rPr lang="en-US" sz="1400" b="1" dirty="0" err="1">
                <a:hlinkClick r:id="rId9"/>
              </a:rPr>
              <a:t>RStudio</a:t>
            </a:r>
            <a:endParaRPr lang="en-US" sz="1400" b="1" dirty="0"/>
          </a:p>
          <a:p>
            <a:pPr marL="0" indent="0">
              <a:buNone/>
            </a:pPr>
            <a:r>
              <a:rPr lang="en-US" sz="1400" b="1" dirty="0" smtClean="0"/>
              <a:t>Step 3 </a:t>
            </a:r>
            <a:r>
              <a:rPr lang="en-US" sz="1400" dirty="0" smtClean="0"/>
              <a:t>: Once you click on </a:t>
            </a:r>
            <a:r>
              <a:rPr lang="en-US" sz="1400" b="1" dirty="0" err="1">
                <a:hlinkClick r:id="rId9"/>
              </a:rPr>
              <a:t>RStudio</a:t>
            </a:r>
            <a:r>
              <a:rPr lang="en-US" sz="1400" b="1" dirty="0">
                <a:hlinkClick r:id="rId9"/>
              </a:rPr>
              <a:t> – </a:t>
            </a:r>
            <a:r>
              <a:rPr lang="en-US" sz="1400" b="1" dirty="0" err="1">
                <a:hlinkClick r:id="rId9"/>
              </a:rPr>
              <a:t>RStudio</a:t>
            </a:r>
            <a:r>
              <a:rPr lang="en-US" sz="1400" dirty="0" smtClean="0"/>
              <a:t> you will be able to see a particular page (as in snap shot 1)</a:t>
            </a:r>
          </a:p>
          <a:p>
            <a:pPr marL="0" indent="0">
              <a:buNone/>
            </a:pPr>
            <a:r>
              <a:rPr lang="en-US" sz="1400" b="1" dirty="0"/>
              <a:t>Step </a:t>
            </a:r>
            <a:r>
              <a:rPr lang="en-US" sz="1400" b="1" dirty="0" smtClean="0"/>
              <a:t>4 </a:t>
            </a:r>
            <a:r>
              <a:rPr lang="en-US" sz="1400" dirty="0"/>
              <a:t>: Once you click on </a:t>
            </a:r>
            <a:r>
              <a:rPr lang="en-US" sz="1400" b="1" u="sng" dirty="0" smtClean="0">
                <a:solidFill>
                  <a:srgbClr val="00B0F0"/>
                </a:solidFill>
                <a:hlinkClick r:id="rId10"/>
              </a:rPr>
              <a:t>Run </a:t>
            </a:r>
            <a:r>
              <a:rPr lang="en-US" sz="1400" b="1" u="sng" dirty="0" err="1" smtClean="0">
                <a:solidFill>
                  <a:srgbClr val="00B0F0"/>
                </a:solidFill>
                <a:hlinkClick r:id="rId10"/>
              </a:rPr>
              <a:t>RStudio</a:t>
            </a:r>
            <a:r>
              <a:rPr lang="en-US" sz="1400" b="1" u="sng" dirty="0" smtClean="0">
                <a:solidFill>
                  <a:srgbClr val="00B0F0"/>
                </a:solidFill>
                <a:hlinkClick r:id="rId10"/>
              </a:rPr>
              <a:t> on your desktop</a:t>
            </a:r>
            <a:r>
              <a:rPr lang="en-US" sz="1400" dirty="0" smtClean="0"/>
              <a:t> </a:t>
            </a:r>
            <a:r>
              <a:rPr lang="en-US" sz="1400" dirty="0"/>
              <a:t>you will be able to see a particular page (as </a:t>
            </a:r>
            <a:r>
              <a:rPr lang="en-US" sz="1400" dirty="0" smtClean="0"/>
              <a:t>in </a:t>
            </a:r>
            <a:r>
              <a:rPr lang="en-US" sz="1400" dirty="0"/>
              <a:t>snap shot </a:t>
            </a:r>
            <a:r>
              <a:rPr lang="en-US" sz="1400" dirty="0" smtClean="0"/>
              <a:t>2)</a:t>
            </a:r>
          </a:p>
          <a:p>
            <a:pPr marL="0" indent="0">
              <a:buNone/>
            </a:pPr>
            <a:r>
              <a:rPr lang="en-US" sz="1400" b="1" dirty="0"/>
              <a:t>Step 4 </a:t>
            </a:r>
            <a:r>
              <a:rPr lang="en-US" sz="1400" dirty="0"/>
              <a:t>: </a:t>
            </a:r>
            <a:r>
              <a:rPr lang="en-US" sz="1400" dirty="0" smtClean="0"/>
              <a:t>Click on </a:t>
            </a:r>
            <a:r>
              <a:rPr lang="en-US" sz="1400" b="1" u="sng" dirty="0" smtClean="0">
                <a:solidFill>
                  <a:srgbClr val="00B0F0"/>
                </a:solidFill>
                <a:hlinkClick r:id="rId10"/>
              </a:rPr>
              <a:t>DOWLOAD RSTUDIO DESKTOP</a:t>
            </a:r>
            <a:r>
              <a:rPr lang="en-US" sz="1400" dirty="0" smtClean="0">
                <a:solidFill>
                  <a:srgbClr val="00B0F0"/>
                </a:solidFill>
              </a:rPr>
              <a:t>,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Rstudio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/>
              <a:t>will get downloaded in your system</a:t>
            </a:r>
          </a:p>
          <a:p>
            <a:pPr marL="0" indent="0">
              <a:buNone/>
            </a:pPr>
            <a:r>
              <a:rPr lang="en-US" sz="1400" dirty="0" smtClean="0">
                <a:solidFill>
                  <a:schemeClr val="tx1"/>
                </a:solidFill>
              </a:rPr>
              <a:t> </a:t>
            </a:r>
            <a:endParaRPr lang="en-US" sz="14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US" sz="1400" dirty="0" smtClean="0"/>
          </a:p>
          <a:p>
            <a:pPr marL="0" indent="0">
              <a:buNone/>
            </a:pPr>
            <a:endParaRPr lang="en-US" sz="1400" dirty="0" smtClean="0"/>
          </a:p>
          <a:p>
            <a:pPr marL="0" indent="0">
              <a:buNone/>
            </a:pPr>
            <a:endParaRPr lang="en-US" sz="1400" dirty="0" smtClean="0"/>
          </a:p>
          <a:p>
            <a:pPr marL="0" indent="0">
              <a:buNone/>
            </a:pPr>
            <a:endParaRPr lang="en-US" sz="1400" u="sng" dirty="0">
              <a:solidFill>
                <a:schemeClr val="accent2">
                  <a:lumMod val="75000"/>
                </a:schemeClr>
              </a:solidFill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455549" y="1018775"/>
            <a:ext cx="8138160" cy="0"/>
          </a:xfrm>
          <a:prstGeom prst="line">
            <a:avLst/>
          </a:prstGeom>
          <a:ln w="12700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/>
          <p:nvPr/>
        </p:nvGrpSpPr>
        <p:grpSpPr>
          <a:xfrm>
            <a:off x="4170431" y="4142205"/>
            <a:ext cx="2824879" cy="2083104"/>
            <a:chOff x="4170431" y="4142205"/>
            <a:chExt cx="2824879" cy="2083104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4170431" y="4142205"/>
              <a:ext cx="2824879" cy="2083104"/>
            </a:xfrm>
            <a:prstGeom prst="rect">
              <a:avLst/>
            </a:prstGeom>
            <a:ln>
              <a:solidFill>
                <a:schemeClr val="tx2"/>
              </a:solidFill>
            </a:ln>
          </p:spPr>
        </p:pic>
        <p:sp>
          <p:nvSpPr>
            <p:cNvPr id="14" name="Oval 13"/>
            <p:cNvSpPr/>
            <p:nvPr/>
          </p:nvSpPr>
          <p:spPr>
            <a:xfrm>
              <a:off x="4170431" y="5844309"/>
              <a:ext cx="381000" cy="38100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34345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Quintiles_PPT_Template_11Mar15">
  <a:themeElements>
    <a:clrScheme name="QuintilesIMS Combo">
      <a:dk1>
        <a:sysClr val="windowText" lastClr="000000"/>
      </a:dk1>
      <a:lt1>
        <a:sysClr val="window" lastClr="FFFFFF"/>
      </a:lt1>
      <a:dk2>
        <a:srgbClr val="1A1A1A"/>
      </a:dk2>
      <a:lt2>
        <a:srgbClr val="FFFBEF"/>
      </a:lt2>
      <a:accent1>
        <a:srgbClr val="297DFD"/>
      </a:accent1>
      <a:accent2>
        <a:srgbClr val="004C97"/>
      </a:accent2>
      <a:accent3>
        <a:srgbClr val="43B649"/>
      </a:accent3>
      <a:accent4>
        <a:srgbClr val="6D2077"/>
      </a:accent4>
      <a:accent5>
        <a:srgbClr val="AE2673"/>
      </a:accent5>
      <a:accent6>
        <a:srgbClr val="ED8B00"/>
      </a:accent6>
      <a:hlink>
        <a:srgbClr val="297DFD"/>
      </a:hlink>
      <a:folHlink>
        <a:srgbClr val="004C9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spcBef>
            <a:spcPts val="200"/>
          </a:spcBef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square" lIns="91440" tIns="45720" rIns="91440" bIns="45720" numCol="1" rtlCol="0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40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kern="1200" cap="none" spc="0" normalizeH="0" baseline="0" noProof="0" dirty="0" smtClean="0">
            <a:ln>
              <a:noFill/>
            </a:ln>
            <a:solidFill>
              <a:schemeClr val="tx2"/>
            </a:solidFill>
            <a:effectLst/>
            <a:uLnTx/>
            <a:uFillTx/>
            <a:latin typeface="+mn-lt"/>
            <a:ea typeface="ＭＳ Ｐゴシック" charset="-128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8FB5F7FE-A1D8-468A-B868-9489C357EE52}" vid="{7D194F19-86C2-4CA3-B05C-E7F4CD423D22}"/>
    </a:ext>
  </a:extLst>
</a:theme>
</file>

<file path=ppt/theme/theme2.xml><?xml version="1.0" encoding="utf-8"?>
<a:theme xmlns:a="http://schemas.openxmlformats.org/drawingml/2006/main" name="Office Theme">
  <a:themeElements>
    <a:clrScheme name="QuintilesIMS Combo">
      <a:dk1>
        <a:sysClr val="windowText" lastClr="000000"/>
      </a:dk1>
      <a:lt1>
        <a:sysClr val="window" lastClr="FFFFFF"/>
      </a:lt1>
      <a:dk2>
        <a:srgbClr val="1A1A1A"/>
      </a:dk2>
      <a:lt2>
        <a:srgbClr val="FFFBEF"/>
      </a:lt2>
      <a:accent1>
        <a:srgbClr val="297DFD"/>
      </a:accent1>
      <a:accent2>
        <a:srgbClr val="004C97"/>
      </a:accent2>
      <a:accent3>
        <a:srgbClr val="43B649"/>
      </a:accent3>
      <a:accent4>
        <a:srgbClr val="6D2077"/>
      </a:accent4>
      <a:accent5>
        <a:srgbClr val="AE2673"/>
      </a:accent5>
      <a:accent6>
        <a:srgbClr val="ED8B00"/>
      </a:accent6>
      <a:hlink>
        <a:srgbClr val="297DFD"/>
      </a:hlink>
      <a:folHlink>
        <a:srgbClr val="004C97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QuintilesIMS Combo">
      <a:dk1>
        <a:sysClr val="windowText" lastClr="000000"/>
      </a:dk1>
      <a:lt1>
        <a:sysClr val="window" lastClr="FFFFFF"/>
      </a:lt1>
      <a:dk2>
        <a:srgbClr val="1A1A1A"/>
      </a:dk2>
      <a:lt2>
        <a:srgbClr val="FFFBEF"/>
      </a:lt2>
      <a:accent1>
        <a:srgbClr val="297DFD"/>
      </a:accent1>
      <a:accent2>
        <a:srgbClr val="004C97"/>
      </a:accent2>
      <a:accent3>
        <a:srgbClr val="43B649"/>
      </a:accent3>
      <a:accent4>
        <a:srgbClr val="6D2077"/>
      </a:accent4>
      <a:accent5>
        <a:srgbClr val="AE2673"/>
      </a:accent5>
      <a:accent6>
        <a:srgbClr val="ED8B00"/>
      </a:accent6>
      <a:hlink>
        <a:srgbClr val="297DFD"/>
      </a:hlink>
      <a:folHlink>
        <a:srgbClr val="004C97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3828BBCD8003E44BC240E48D9D068CA" ma:contentTypeVersion="0" ma:contentTypeDescription="Create a new document." ma:contentTypeScope="" ma:versionID="190f03141b091916b0461515e7bdf127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EE3A6FA-0453-40DE-A6F7-41C72E06F6D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2.xml><?xml version="1.0" encoding="utf-8"?>
<ds:datastoreItem xmlns:ds="http://schemas.openxmlformats.org/officeDocument/2006/customXml" ds:itemID="{78273E7C-77D6-439D-9953-67AAF9AE33C0}">
  <ds:schemaRefs>
    <ds:schemaRef ds:uri="http://purl.org/dc/dcmitype/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schemas.microsoft.com/office/2006/metadata/properties"/>
    <ds:schemaRef ds:uri="http://www.w3.org/XML/1998/namespace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F5AC1CA3-FEBD-439B-BD34-4616570AB99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18</TotalTime>
  <Words>1475</Words>
  <Application>Microsoft Office PowerPoint</Application>
  <PresentationFormat>On-screen Show (4:3)</PresentationFormat>
  <Paragraphs>214</Paragraphs>
  <Slides>16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5" baseType="lpstr">
      <vt:lpstr>ＭＳ Ｐゴシック</vt:lpstr>
      <vt:lpstr>黑体</vt:lpstr>
      <vt:lpstr>Arial</vt:lpstr>
      <vt:lpstr>Georgia</vt:lpstr>
      <vt:lpstr>LCMSS8</vt:lpstr>
      <vt:lpstr>Lucida Grande</vt:lpstr>
      <vt:lpstr>Wingdings</vt:lpstr>
      <vt:lpstr>Quintiles_PPT_Template_11Mar15</vt:lpstr>
      <vt:lpstr>think-cell Slide</vt:lpstr>
      <vt:lpstr>An Introduction to R</vt:lpstr>
      <vt:lpstr>Agenda – Day 1</vt:lpstr>
      <vt:lpstr>An Overview of R </vt:lpstr>
      <vt:lpstr>History of R</vt:lpstr>
      <vt:lpstr>Why R?</vt:lpstr>
      <vt:lpstr>Features &amp; Drawbacks of R</vt:lpstr>
      <vt:lpstr>Installing R</vt:lpstr>
      <vt:lpstr>Different windows in R</vt:lpstr>
      <vt:lpstr>Installing R Studio</vt:lpstr>
      <vt:lpstr>Different windows in RStudio (1/2) </vt:lpstr>
      <vt:lpstr>Different windows in RStudio (2/2)</vt:lpstr>
      <vt:lpstr>2017 SAS, R, or Python Flash Survey Results http://www.burtchworks.com/2017/06/19/2017-sas-r-python-flash-survey-results/</vt:lpstr>
      <vt:lpstr>Appendix</vt:lpstr>
      <vt:lpstr>S Language and its History</vt:lpstr>
      <vt:lpstr>Package &amp; Library</vt:lpstr>
      <vt:lpstr>Declaring an Object</vt:lpstr>
    </vt:vector>
  </TitlesOfParts>
  <Company>Quintile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w to change your default template and how to convert to new template</dc:title>
  <dc:creator>Serena Shi</dc:creator>
  <cp:lastModifiedBy>Mohanaganapathy K</cp:lastModifiedBy>
  <cp:revision>337</cp:revision>
  <dcterms:created xsi:type="dcterms:W3CDTF">2016-10-06T14:21:45Z</dcterms:created>
  <dcterms:modified xsi:type="dcterms:W3CDTF">2017-09-17T18:46:22Z</dcterms:modified>
</cp:coreProperties>
</file>